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 ContentType="image/tif"/>
  <Default Extension="tmp" ContentType="image/p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Lst>
  <p:notesMasterIdLst>
    <p:notesMasterId r:id="rId53"/>
  </p:notesMasterIdLst>
  <p:sldIdLst>
    <p:sldId id="256" r:id="rId2"/>
    <p:sldId id="270" r:id="rId3"/>
    <p:sldId id="2145709293" r:id="rId4"/>
    <p:sldId id="295" r:id="rId5"/>
    <p:sldId id="313" r:id="rId6"/>
    <p:sldId id="315" r:id="rId7"/>
    <p:sldId id="2145709295" r:id="rId8"/>
    <p:sldId id="298" r:id="rId9"/>
    <p:sldId id="2147378967" r:id="rId10"/>
    <p:sldId id="293" r:id="rId11"/>
    <p:sldId id="301" r:id="rId12"/>
    <p:sldId id="2147378964" r:id="rId13"/>
    <p:sldId id="274" r:id="rId14"/>
    <p:sldId id="329" r:id="rId15"/>
    <p:sldId id="272" r:id="rId16"/>
    <p:sldId id="310" r:id="rId17"/>
    <p:sldId id="2145709290" r:id="rId18"/>
    <p:sldId id="345" r:id="rId19"/>
    <p:sldId id="2145709291" r:id="rId20"/>
    <p:sldId id="320" r:id="rId21"/>
    <p:sldId id="397" r:id="rId22"/>
    <p:sldId id="384" r:id="rId23"/>
    <p:sldId id="314" r:id="rId24"/>
    <p:sldId id="321" r:id="rId25"/>
    <p:sldId id="399" r:id="rId26"/>
    <p:sldId id="325" r:id="rId27"/>
    <p:sldId id="322" r:id="rId28"/>
    <p:sldId id="326" r:id="rId29"/>
    <p:sldId id="311" r:id="rId30"/>
    <p:sldId id="2147378966" r:id="rId31"/>
    <p:sldId id="316" r:id="rId32"/>
    <p:sldId id="2147378969" r:id="rId33"/>
    <p:sldId id="297" r:id="rId34"/>
    <p:sldId id="403" r:id="rId35"/>
    <p:sldId id="277" r:id="rId36"/>
    <p:sldId id="328" r:id="rId37"/>
    <p:sldId id="285" r:id="rId38"/>
    <p:sldId id="286" r:id="rId39"/>
    <p:sldId id="287" r:id="rId40"/>
    <p:sldId id="404" r:id="rId41"/>
    <p:sldId id="327" r:id="rId42"/>
    <p:sldId id="2145709294" r:id="rId43"/>
    <p:sldId id="1742" r:id="rId44"/>
    <p:sldId id="357" r:id="rId45"/>
    <p:sldId id="312" r:id="rId46"/>
    <p:sldId id="2147378970" r:id="rId47"/>
    <p:sldId id="2145709289" r:id="rId48"/>
    <p:sldId id="346" r:id="rId49"/>
    <p:sldId id="2145709286" r:id="rId50"/>
    <p:sldId id="2145709288" r:id="rId51"/>
    <p:sldId id="283" r:id="rId52"/>
  </p:sldIdLst>
  <p:sldSz cx="12192000" cy="6858000"/>
  <p:notesSz cx="6858000" cy="9144000"/>
  <p:embeddedFontLst>
    <p:embeddedFont>
      <p:font typeface="Abadi" panose="020B0604020104020204" pitchFamily="34" charset="0"/>
      <p:regular r:id="rId54"/>
    </p:embeddedFont>
    <p:embeddedFont>
      <p:font typeface="Agency FB" panose="020B0503020202020204" pitchFamily="34" charset="0"/>
      <p:regular r:id="rId55"/>
      <p:bold r:id="rId56"/>
    </p:embeddedFont>
    <p:embeddedFont>
      <p:font typeface="Arial Narrow" panose="020B0606020202030204" pitchFamily="34" charset="0"/>
      <p:regular r:id="rId57"/>
      <p:bold r:id="rId58"/>
      <p:italic r:id="rId59"/>
      <p:boldItalic r:id="rId60"/>
    </p:embeddedFont>
    <p:embeddedFont>
      <p:font typeface="Bahnschrift" panose="020B0502040204020203" pitchFamily="34" charset="0"/>
      <p:regular r:id="rId61"/>
      <p:bold r:id="rId62"/>
    </p:embeddedFont>
    <p:embeddedFont>
      <p:font typeface="Barlow Light" panose="00000400000000000000" pitchFamily="2" charset="0"/>
      <p:regular r:id="rId63"/>
      <p:italic r:id="rId64"/>
    </p:embeddedFont>
    <p:embeddedFont>
      <p:font typeface="Calibri" panose="020F0502020204030204" pitchFamily="34" charset="0"/>
      <p:regular r:id="rId65"/>
      <p:bold r:id="rId66"/>
      <p:italic r:id="rId67"/>
      <p:boldItalic r:id="rId68"/>
    </p:embeddedFont>
    <p:embeddedFont>
      <p:font typeface="Candara" panose="020E0502030303020204" pitchFamily="34" charset="0"/>
      <p:regular r:id="rId69"/>
      <p:bold r:id="rId70"/>
      <p:italic r:id="rId71"/>
      <p:boldItalic r:id="rId72"/>
    </p:embeddedFont>
    <p:embeddedFont>
      <p:font typeface="Montserrat" panose="00000500000000000000" pitchFamily="2" charset="0"/>
      <p:regular r:id="rId73"/>
      <p:bold r:id="rId74"/>
      <p:italic r:id="rId75"/>
      <p:boldItalic r:id="rId76"/>
    </p:embeddedFont>
    <p:embeddedFont>
      <p:font typeface="Montserrat Bold" panose="00000800000000000000" charset="0"/>
      <p:bold r:id="rId77"/>
    </p:embeddedFont>
    <p:embeddedFont>
      <p:font typeface="Montserrat SemiBold" panose="00000700000000000000" pitchFamily="2" charset="0"/>
      <p:bold r:id="rId78"/>
      <p:boldItalic r:id="rId79"/>
    </p:embeddedFont>
    <p:embeddedFont>
      <p:font typeface="Roboto" panose="02000000000000000000" pitchFamily="2" charset="0"/>
      <p:regular r:id="rId80"/>
      <p:bold r:id="rId81"/>
      <p:italic r:id="rId82"/>
      <p:boldItalic r:id="rId83"/>
    </p:embeddedFont>
    <p:embeddedFont>
      <p:font typeface="Segoe UI" panose="020B0502040204020203" pitchFamily="34" charset="0"/>
      <p:regular r:id="rId84"/>
      <p:bold r:id="rId85"/>
      <p:italic r:id="rId86"/>
      <p:boldItalic r:id="rId87"/>
    </p:embeddedFont>
    <p:embeddedFont>
      <p:font typeface="Source Code Pro Black" panose="020B0809030403020204" pitchFamily="49" charset="0"/>
      <p:bold r:id="rId88"/>
      <p:boldItalic r:id="rId89"/>
    </p:embeddedFont>
    <p:embeddedFont>
      <p:font typeface="Tw Cen MT" panose="020B0602020104020603" pitchFamily="34" charset="0"/>
      <p:regular r:id="rId90"/>
      <p:bold r:id="rId91"/>
      <p:italic r:id="rId92"/>
      <p:boldItalic r:id="rId9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6FC"/>
    <a:srgbClr val="DAAA4B"/>
    <a:srgbClr val="F6BC66"/>
    <a:srgbClr val="FFD54F"/>
    <a:srgbClr val="FEBF00"/>
    <a:srgbClr val="012A4A"/>
    <a:srgbClr val="FFFFFF"/>
    <a:srgbClr val="EFF2F2"/>
    <a:srgbClr val="E2F0D9"/>
    <a:srgbClr val="B7F3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465DD6E-017D-452E-9CA1-E1091093EF96}">
  <a:tblStyle styleId="{0465DD6E-017D-452E-9CA1-E1091093EF96}"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223" autoAdjust="0"/>
  </p:normalViewPr>
  <p:slideViewPr>
    <p:cSldViewPr snapToGrid="0">
      <p:cViewPr varScale="1">
        <p:scale>
          <a:sx n="72" d="100"/>
          <a:sy n="72" d="100"/>
        </p:scale>
        <p:origin x="998"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font" Target="fonts/font2.fntdata"/><Relationship Id="rId63" Type="http://schemas.openxmlformats.org/officeDocument/2006/relationships/font" Target="fonts/font10.fntdata"/><Relationship Id="rId68" Type="http://schemas.openxmlformats.org/officeDocument/2006/relationships/font" Target="fonts/font15.fntdata"/><Relationship Id="rId76" Type="http://schemas.openxmlformats.org/officeDocument/2006/relationships/font" Target="fonts/font23.fntdata"/><Relationship Id="rId84" Type="http://schemas.openxmlformats.org/officeDocument/2006/relationships/font" Target="fonts/font31.fntdata"/><Relationship Id="rId89" Type="http://schemas.openxmlformats.org/officeDocument/2006/relationships/font" Target="fonts/font36.fntdata"/><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font" Target="fonts/font18.fntdata"/><Relationship Id="rId92" Type="http://schemas.openxmlformats.org/officeDocument/2006/relationships/font" Target="fonts/font39.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font" Target="fonts/font21.fntdata"/><Relationship Id="rId79" Type="http://schemas.openxmlformats.org/officeDocument/2006/relationships/font" Target="fonts/font26.fntdata"/><Relationship Id="rId87" Type="http://schemas.openxmlformats.org/officeDocument/2006/relationships/font" Target="fonts/font34.fntdata"/><Relationship Id="rId5" Type="http://schemas.openxmlformats.org/officeDocument/2006/relationships/slide" Target="slides/slide4.xml"/><Relationship Id="rId61" Type="http://schemas.openxmlformats.org/officeDocument/2006/relationships/font" Target="fonts/font8.fntdata"/><Relationship Id="rId82" Type="http://schemas.openxmlformats.org/officeDocument/2006/relationships/font" Target="fonts/font29.fntdata"/><Relationship Id="rId90" Type="http://schemas.openxmlformats.org/officeDocument/2006/relationships/font" Target="fonts/font37.fntdata"/><Relationship Id="rId95"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font" Target="fonts/font16.fntdata"/><Relationship Id="rId77" Type="http://schemas.openxmlformats.org/officeDocument/2006/relationships/font" Target="fonts/font24.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9.fntdata"/><Relationship Id="rId80" Type="http://schemas.openxmlformats.org/officeDocument/2006/relationships/font" Target="fonts/font27.fntdata"/><Relationship Id="rId85" Type="http://schemas.openxmlformats.org/officeDocument/2006/relationships/font" Target="fonts/font32.fntdata"/><Relationship Id="rId93" Type="http://schemas.openxmlformats.org/officeDocument/2006/relationships/font" Target="fonts/font40.fntdata"/><Relationship Id="rId98"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font" Target="fonts/font17.fntdata"/><Relationship Id="rId75" Type="http://schemas.openxmlformats.org/officeDocument/2006/relationships/font" Target="fonts/font22.fntdata"/><Relationship Id="rId83" Type="http://schemas.openxmlformats.org/officeDocument/2006/relationships/font" Target="fonts/font30.fntdata"/><Relationship Id="rId88" Type="http://schemas.openxmlformats.org/officeDocument/2006/relationships/font" Target="fonts/font35.fntdata"/><Relationship Id="rId91" Type="http://schemas.openxmlformats.org/officeDocument/2006/relationships/font" Target="fonts/font38.fntdata"/><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4.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font" Target="fonts/font20.fntdata"/><Relationship Id="rId78" Type="http://schemas.openxmlformats.org/officeDocument/2006/relationships/font" Target="fonts/font25.fntdata"/><Relationship Id="rId81" Type="http://schemas.openxmlformats.org/officeDocument/2006/relationships/font" Target="fonts/font28.fntdata"/><Relationship Id="rId86" Type="http://schemas.openxmlformats.org/officeDocument/2006/relationships/font" Target="fonts/font33.fntdata"/><Relationship Id="rId9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uku Raja Irfan Radarma" userId="cf428174-95ba-4576-8554-3a3b8ffa52b7" providerId="ADAL" clId="{8299E670-4588-4EA2-8257-BBAE47D761CE}"/>
    <pc:docChg chg="modSld">
      <pc:chgData name="Teuku Raja Irfan Radarma" userId="cf428174-95ba-4576-8554-3a3b8ffa52b7" providerId="ADAL" clId="{8299E670-4588-4EA2-8257-BBAE47D761CE}" dt="2023-07-02T14:46:48.530" v="13" actId="20577"/>
      <pc:docMkLst>
        <pc:docMk/>
      </pc:docMkLst>
      <pc:sldChg chg="modSp mod">
        <pc:chgData name="Teuku Raja Irfan Radarma" userId="cf428174-95ba-4576-8554-3a3b8ffa52b7" providerId="ADAL" clId="{8299E670-4588-4EA2-8257-BBAE47D761CE}" dt="2023-07-02T14:46:48.530" v="13" actId="20577"/>
        <pc:sldMkLst>
          <pc:docMk/>
          <pc:sldMk cId="0" sldId="256"/>
        </pc:sldMkLst>
        <pc:spChg chg="mod">
          <ac:chgData name="Teuku Raja Irfan Radarma" userId="cf428174-95ba-4576-8554-3a3b8ffa52b7" providerId="ADAL" clId="{8299E670-4588-4EA2-8257-BBAE47D761CE}" dt="2023-07-02T14:46:37.138" v="1" actId="6549"/>
          <ac:spMkLst>
            <pc:docMk/>
            <pc:sldMk cId="0" sldId="256"/>
            <ac:spMk id="309" creationId="{00000000-0000-0000-0000-000000000000}"/>
          </ac:spMkLst>
        </pc:spChg>
        <pc:spChg chg="mod">
          <ac:chgData name="Teuku Raja Irfan Radarma" userId="cf428174-95ba-4576-8554-3a3b8ffa52b7" providerId="ADAL" clId="{8299E670-4588-4EA2-8257-BBAE47D761CE}" dt="2023-07-02T14:46:48.530" v="13" actId="20577"/>
          <ac:spMkLst>
            <pc:docMk/>
            <pc:sldMk cId="0" sldId="256"/>
            <ac:spMk id="310" creationId="{00000000-0000-0000-0000-000000000000}"/>
          </ac:spMkLst>
        </pc:spChg>
      </pc:sldChg>
    </pc:docChg>
  </pc:docChgLst>
</pc:chgInfo>
</file>

<file path=ppt/diagrams/_rels/data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hyperlink" Target="http://clipart-library.com/cliparts-leadership-skills.html" TargetMode="External"/><Relationship Id="rId1" Type="http://schemas.openxmlformats.org/officeDocument/2006/relationships/image" Target="../media/image77.jpeg"/><Relationship Id="rId4" Type="http://schemas.openxmlformats.org/officeDocument/2006/relationships/image" Target="../media/image79.png"/></Relationships>
</file>

<file path=ppt/diagrams/_rels/data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image" Target="../media/image87.jpg"/></Relationships>
</file>

<file path=ppt/diagrams/_rels/drawing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hyperlink" Target="http://clipart-library.com/cliparts-leadership-skills.html" TargetMode="External"/><Relationship Id="rId1" Type="http://schemas.openxmlformats.org/officeDocument/2006/relationships/image" Target="../media/image77.jpeg"/><Relationship Id="rId4" Type="http://schemas.openxmlformats.org/officeDocument/2006/relationships/image" Target="../media/image79.png"/></Relationships>
</file>

<file path=ppt/diagrams/_rels/drawing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image" Target="../media/image8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F98758-4C7D-49AB-92D9-0438F8C35601}"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ID"/>
        </a:p>
      </dgm:t>
    </dgm:pt>
    <dgm:pt modelId="{666DADCF-6AEB-44C5-BB3E-5618E0D4272E}">
      <dgm:prSet custT="1">
        <dgm:style>
          <a:lnRef idx="2">
            <a:schemeClr val="accent5">
              <a:shade val="50000"/>
            </a:schemeClr>
          </a:lnRef>
          <a:fillRef idx="1">
            <a:schemeClr val="accent5"/>
          </a:fillRef>
          <a:effectRef idx="0">
            <a:schemeClr val="accent5"/>
          </a:effectRef>
          <a:fontRef idx="minor">
            <a:schemeClr val="lt1"/>
          </a:fontRef>
        </dgm:style>
      </dgm:prSet>
      <dgm:spPr>
        <a:solidFill>
          <a:schemeClr val="tx1">
            <a:lumMod val="75000"/>
            <a:lumOff val="25000"/>
          </a:schemeClr>
        </a:solidFill>
        <a:ln>
          <a:noFill/>
        </a:ln>
      </dgm:spPr>
      <dgm:t>
        <a:bodyPr/>
        <a:lstStyle/>
        <a:p>
          <a:pPr algn="ctr" rtl="0">
            <a:spcAft>
              <a:spcPct val="35000"/>
            </a:spcAft>
          </a:pPr>
          <a:r>
            <a:rPr lang="en-US" sz="2000" b="1" dirty="0" err="1">
              <a:solidFill>
                <a:schemeClr val="bg1"/>
              </a:solidFill>
              <a:latin typeface="Segoe UI" panose="020B0502040204020203" pitchFamily="34" charset="0"/>
              <a:cs typeface="Segoe UI" panose="020B0502040204020203" pitchFamily="34" charset="0"/>
            </a:rPr>
            <a:t>Analisis</a:t>
          </a:r>
          <a:r>
            <a:rPr lang="en-US" sz="2000" b="1" dirty="0">
              <a:solidFill>
                <a:schemeClr val="bg1"/>
              </a:solidFill>
              <a:latin typeface="Segoe UI" panose="020B0502040204020203" pitchFamily="34" charset="0"/>
              <a:cs typeface="Segoe UI" panose="020B0502040204020203" pitchFamily="34" charset="0"/>
            </a:rPr>
            <a:t> </a:t>
          </a:r>
          <a:r>
            <a:rPr lang="en-US" sz="2000" b="1" dirty="0" err="1">
              <a:solidFill>
                <a:schemeClr val="bg1"/>
              </a:solidFill>
              <a:latin typeface="Segoe UI" panose="020B0502040204020203" pitchFamily="34" charset="0"/>
              <a:cs typeface="Segoe UI" panose="020B0502040204020203" pitchFamily="34" charset="0"/>
            </a:rPr>
            <a:t>dokumen</a:t>
          </a:r>
          <a:r>
            <a:rPr lang="en-US" sz="2000" b="1" dirty="0">
              <a:solidFill>
                <a:schemeClr val="bg1"/>
              </a:solidFill>
              <a:latin typeface="Segoe UI" panose="020B0502040204020203" pitchFamily="34" charset="0"/>
              <a:cs typeface="Segoe UI" panose="020B0502040204020203" pitchFamily="34" charset="0"/>
            </a:rPr>
            <a:t> </a:t>
          </a:r>
          <a:r>
            <a:rPr lang="en-US" sz="2000" b="1" dirty="0" err="1">
              <a:solidFill>
                <a:schemeClr val="bg1"/>
              </a:solidFill>
              <a:latin typeface="Segoe UI" panose="020B0502040204020203" pitchFamily="34" charset="0"/>
              <a:cs typeface="Segoe UI" panose="020B0502040204020203" pitchFamily="34" charset="0"/>
            </a:rPr>
            <a:t>terkait</a:t>
          </a:r>
          <a:r>
            <a:rPr lang="en-US" sz="2000" b="1" dirty="0">
              <a:solidFill>
                <a:schemeClr val="bg1"/>
              </a:solidFill>
              <a:latin typeface="Segoe UI" panose="020B0502040204020203" pitchFamily="34" charset="0"/>
              <a:cs typeface="Segoe UI" panose="020B0502040204020203" pitchFamily="34" charset="0"/>
            </a:rPr>
            <a:t> proses </a:t>
          </a:r>
          <a:r>
            <a:rPr lang="en-US" sz="2000" b="1" dirty="0" err="1">
              <a:solidFill>
                <a:schemeClr val="bg1"/>
              </a:solidFill>
              <a:latin typeface="Segoe UI" panose="020B0502040204020203" pitchFamily="34" charset="0"/>
              <a:cs typeface="Segoe UI" panose="020B0502040204020203" pitchFamily="34" charset="0"/>
            </a:rPr>
            <a:t>bisnis</a:t>
          </a:r>
          <a:endParaRPr lang="en-US" sz="2000" b="1" dirty="0">
            <a:solidFill>
              <a:schemeClr val="bg1"/>
            </a:solidFill>
            <a:latin typeface="Segoe UI" panose="020B0502040204020203" pitchFamily="34" charset="0"/>
            <a:cs typeface="Segoe UI" panose="020B0502040204020203" pitchFamily="34" charset="0"/>
          </a:endParaRPr>
        </a:p>
        <a:p>
          <a:pPr algn="l" rtl="0">
            <a:spcAft>
              <a:spcPts val="0"/>
            </a:spcAft>
          </a:pPr>
          <a:r>
            <a:rPr lang="en-US" sz="2000">
              <a:solidFill>
                <a:schemeClr val="bg1"/>
              </a:solidFill>
              <a:latin typeface="Segoe UI" panose="020B0502040204020203" pitchFamily="34" charset="0"/>
              <a:cs typeface="Segoe UI" panose="020B0502040204020203" pitchFamily="34" charset="0"/>
            </a:rPr>
            <a:t>- Peraturan</a:t>
          </a:r>
        </a:p>
        <a:p>
          <a:pPr algn="l" rtl="0">
            <a:spcAft>
              <a:spcPts val="0"/>
            </a:spcAft>
          </a:pPr>
          <a:r>
            <a:rPr lang="en-US" sz="2000">
              <a:solidFill>
                <a:schemeClr val="bg1"/>
              </a:solidFill>
              <a:latin typeface="Segoe UI" panose="020B0502040204020203" pitchFamily="34" charset="0"/>
              <a:cs typeface="Segoe UI" panose="020B0502040204020203" pitchFamily="34" charset="0"/>
            </a:rPr>
            <a:t>- Kebijakan</a:t>
          </a:r>
        </a:p>
        <a:p>
          <a:pPr algn="l" rtl="0">
            <a:spcAft>
              <a:spcPts val="0"/>
            </a:spcAft>
          </a:pPr>
          <a:r>
            <a:rPr lang="en-US" sz="2000">
              <a:solidFill>
                <a:schemeClr val="bg1"/>
              </a:solidFill>
              <a:latin typeface="Segoe UI" panose="020B0502040204020203" pitchFamily="34" charset="0"/>
              <a:cs typeface="Segoe UI" panose="020B0502040204020203" pitchFamily="34" charset="0"/>
            </a:rPr>
            <a:t>- SOP</a:t>
          </a:r>
          <a:endParaRPr lang="en-ID" sz="2000" dirty="0">
            <a:solidFill>
              <a:schemeClr val="bg1"/>
            </a:solidFill>
            <a:latin typeface="Segoe UI" panose="020B0502040204020203" pitchFamily="34" charset="0"/>
            <a:cs typeface="Segoe UI" panose="020B0502040204020203" pitchFamily="34" charset="0"/>
          </a:endParaRPr>
        </a:p>
      </dgm:t>
    </dgm:pt>
    <dgm:pt modelId="{AA8732A7-A17B-4DA3-B241-F161B5615900}" type="parTrans" cxnId="{A5256450-BB09-428A-A033-DF20BE121F68}">
      <dgm:prSet/>
      <dgm:spPr/>
      <dgm:t>
        <a:bodyPr/>
        <a:lstStyle/>
        <a:p>
          <a:endParaRPr lang="en-ID">
            <a:latin typeface="Segoe UI" panose="020B0502040204020203" pitchFamily="34" charset="0"/>
            <a:cs typeface="Segoe UI" panose="020B0502040204020203" pitchFamily="34" charset="0"/>
          </a:endParaRPr>
        </a:p>
      </dgm:t>
    </dgm:pt>
    <dgm:pt modelId="{1A4B8A24-AD83-42A0-9557-D69C49AC3CDB}" type="sibTrans" cxnId="{A5256450-BB09-428A-A033-DF20BE121F68}">
      <dgm:prSet/>
      <dgm:spPr>
        <a:ln>
          <a:solidFill>
            <a:schemeClr val="tx1"/>
          </a:solidFill>
        </a:ln>
      </dgm:spPr>
      <dgm:t>
        <a:bodyPr/>
        <a:lstStyle/>
        <a:p>
          <a:endParaRPr lang="en-ID">
            <a:latin typeface="Segoe UI" panose="020B0502040204020203" pitchFamily="34" charset="0"/>
            <a:cs typeface="Segoe UI" panose="020B0502040204020203" pitchFamily="34" charset="0"/>
          </a:endParaRPr>
        </a:p>
      </dgm:t>
    </dgm:pt>
    <dgm:pt modelId="{F1F03C9D-9414-4F3B-8D67-E887962CC3DA}">
      <dgm:prSet custT="1"/>
      <dgm:spPr>
        <a:solidFill>
          <a:schemeClr val="accent4">
            <a:lumMod val="60000"/>
            <a:lumOff val="40000"/>
          </a:schemeClr>
        </a:solidFill>
        <a:ln>
          <a:noFill/>
        </a:ln>
      </dgm:spPr>
      <dgm:t>
        <a:bodyPr/>
        <a:lstStyle/>
        <a:p>
          <a:pPr algn="ctr" rtl="0">
            <a:lnSpc>
              <a:spcPct val="90000"/>
            </a:lnSpc>
            <a:spcAft>
              <a:spcPct val="35000"/>
            </a:spcAft>
          </a:pPr>
          <a:r>
            <a:rPr lang="en-US" sz="2000" b="1" dirty="0" err="1">
              <a:solidFill>
                <a:schemeClr val="tx1"/>
              </a:solidFill>
              <a:latin typeface="Segoe UI" panose="020B0502040204020203" pitchFamily="34" charset="0"/>
              <a:cs typeface="Segoe UI" panose="020B0502040204020203" pitchFamily="34" charset="0"/>
            </a:rPr>
            <a:t>Analisis</a:t>
          </a:r>
          <a:r>
            <a:rPr lang="en-US" sz="2000" b="1" dirty="0">
              <a:solidFill>
                <a:schemeClr val="tx1"/>
              </a:solidFill>
              <a:latin typeface="Segoe UI" panose="020B0502040204020203" pitchFamily="34" charset="0"/>
              <a:cs typeface="Segoe UI" panose="020B0502040204020203" pitchFamily="34" charset="0"/>
            </a:rPr>
            <a:t> </a:t>
          </a:r>
          <a:r>
            <a:rPr lang="en-US" sz="2000" b="1" dirty="0" err="1">
              <a:solidFill>
                <a:schemeClr val="tx1"/>
              </a:solidFill>
              <a:latin typeface="Segoe UI" panose="020B0502040204020203" pitchFamily="34" charset="0"/>
              <a:cs typeface="Segoe UI" panose="020B0502040204020203" pitchFamily="34" charset="0"/>
            </a:rPr>
            <a:t>dokumen</a:t>
          </a:r>
          <a:r>
            <a:rPr lang="en-US" sz="2000" b="1" dirty="0">
              <a:solidFill>
                <a:schemeClr val="tx1"/>
              </a:solidFill>
              <a:latin typeface="Segoe UI" panose="020B0502040204020203" pitchFamily="34" charset="0"/>
              <a:cs typeface="Segoe UI" panose="020B0502040204020203" pitchFamily="34" charset="0"/>
            </a:rPr>
            <a:t> </a:t>
          </a:r>
          <a:r>
            <a:rPr lang="en-US" sz="2000" b="1" dirty="0" err="1">
              <a:solidFill>
                <a:schemeClr val="tx1"/>
              </a:solidFill>
              <a:latin typeface="Segoe UI" panose="020B0502040204020203" pitchFamily="34" charset="0"/>
              <a:cs typeface="Segoe UI" panose="020B0502040204020203" pitchFamily="34" charset="0"/>
            </a:rPr>
            <a:t>terkait</a:t>
          </a:r>
          <a:r>
            <a:rPr lang="en-US" sz="2000" b="1" dirty="0">
              <a:solidFill>
                <a:schemeClr val="tx1"/>
              </a:solidFill>
              <a:latin typeface="Segoe UI" panose="020B0502040204020203" pitchFamily="34" charset="0"/>
              <a:cs typeface="Segoe UI" panose="020B0502040204020203" pitchFamily="34" charset="0"/>
            </a:rPr>
            <a:t> </a:t>
          </a:r>
          <a:r>
            <a:rPr lang="en-US" sz="2000" b="1" dirty="0" err="1">
              <a:solidFill>
                <a:schemeClr val="tx1"/>
              </a:solidFill>
              <a:latin typeface="Segoe UI" panose="020B0502040204020203" pitchFamily="34" charset="0"/>
              <a:cs typeface="Segoe UI" panose="020B0502040204020203" pitchFamily="34" charset="0"/>
            </a:rPr>
            <a:t>sistem</a:t>
          </a:r>
          <a:r>
            <a:rPr lang="en-US" sz="2000" b="1" dirty="0">
              <a:solidFill>
                <a:schemeClr val="tx1"/>
              </a:solidFill>
              <a:latin typeface="Segoe UI" panose="020B0502040204020203" pitchFamily="34" charset="0"/>
              <a:cs typeface="Segoe UI" panose="020B0502040204020203" pitchFamily="34" charset="0"/>
            </a:rPr>
            <a:t> </a:t>
          </a:r>
        </a:p>
        <a:p>
          <a:pPr algn="l" rtl="0">
            <a:lnSpc>
              <a:spcPct val="100000"/>
            </a:lnSpc>
            <a:spcAft>
              <a:spcPts val="0"/>
            </a:spcAft>
          </a:pPr>
          <a:r>
            <a:rPr lang="en-US" sz="2000" i="1">
              <a:solidFill>
                <a:schemeClr val="tx1"/>
              </a:solidFill>
              <a:latin typeface="Segoe UI" panose="020B0502040204020203" pitchFamily="34" charset="0"/>
              <a:cs typeface="Segoe UI" panose="020B0502040204020203" pitchFamily="34" charset="0"/>
            </a:rPr>
            <a:t>- user manual</a:t>
          </a:r>
        </a:p>
        <a:p>
          <a:pPr algn="l" rtl="0">
            <a:lnSpc>
              <a:spcPct val="100000"/>
            </a:lnSpc>
            <a:spcAft>
              <a:spcPts val="0"/>
            </a:spcAft>
          </a:pPr>
          <a:r>
            <a:rPr lang="en-US" sz="2000" i="1">
              <a:solidFill>
                <a:schemeClr val="tx1"/>
              </a:solidFill>
              <a:latin typeface="Segoe UI" panose="020B0502040204020203" pitchFamily="34" charset="0"/>
              <a:cs typeface="Segoe UI" panose="020B0502040204020203" pitchFamily="34" charset="0"/>
            </a:rPr>
            <a:t>- </a:t>
          </a:r>
          <a:r>
            <a:rPr lang="en-US" sz="2000">
              <a:solidFill>
                <a:schemeClr val="tx1"/>
              </a:solidFill>
              <a:latin typeface="Segoe UI" panose="020B0502040204020203" pitchFamily="34" charset="0"/>
              <a:cs typeface="Segoe UI" panose="020B0502040204020203" pitchFamily="34" charset="0"/>
            </a:rPr>
            <a:t>dokumentasi </a:t>
          </a:r>
          <a:r>
            <a:rPr lang="en-US" sz="2000" err="1">
              <a:solidFill>
                <a:schemeClr val="tx1"/>
              </a:solidFill>
              <a:latin typeface="Segoe UI" panose="020B0502040204020203" pitchFamily="34" charset="0"/>
              <a:cs typeface="Segoe UI" panose="020B0502040204020203" pitchFamily="34" charset="0"/>
            </a:rPr>
            <a:t>pengembangan</a:t>
          </a:r>
          <a:r>
            <a:rPr lang="en-US" sz="2000">
              <a:solidFill>
                <a:schemeClr val="tx1"/>
              </a:solidFill>
              <a:latin typeface="Segoe UI" panose="020B0502040204020203" pitchFamily="34" charset="0"/>
              <a:cs typeface="Segoe UI" panose="020B0502040204020203" pitchFamily="34" charset="0"/>
            </a:rPr>
            <a:t> sistem</a:t>
          </a:r>
          <a:endParaRPr lang="en-ID" sz="2000" dirty="0">
            <a:solidFill>
              <a:schemeClr val="tx1"/>
            </a:solidFill>
            <a:latin typeface="Segoe UI" panose="020B0502040204020203" pitchFamily="34" charset="0"/>
            <a:cs typeface="Segoe UI" panose="020B0502040204020203" pitchFamily="34" charset="0"/>
          </a:endParaRPr>
        </a:p>
      </dgm:t>
    </dgm:pt>
    <dgm:pt modelId="{D38616EB-64F6-4027-A927-0BDCE32CCDE8}" type="parTrans" cxnId="{FF5E127C-7428-490A-A01A-F49E6EAC749B}">
      <dgm:prSet/>
      <dgm:spPr/>
      <dgm:t>
        <a:bodyPr/>
        <a:lstStyle/>
        <a:p>
          <a:endParaRPr lang="en-ID">
            <a:latin typeface="Segoe UI" panose="020B0502040204020203" pitchFamily="34" charset="0"/>
            <a:cs typeface="Segoe UI" panose="020B0502040204020203" pitchFamily="34" charset="0"/>
          </a:endParaRPr>
        </a:p>
      </dgm:t>
    </dgm:pt>
    <dgm:pt modelId="{3E811AF1-111B-46B8-A6EA-3B423F5D1625}" type="sibTrans" cxnId="{FF5E127C-7428-490A-A01A-F49E6EAC749B}">
      <dgm:prSet/>
      <dgm:spPr>
        <a:ln>
          <a:solidFill>
            <a:schemeClr val="tx1"/>
          </a:solidFill>
        </a:ln>
      </dgm:spPr>
      <dgm:t>
        <a:bodyPr/>
        <a:lstStyle/>
        <a:p>
          <a:endParaRPr lang="en-ID">
            <a:latin typeface="Segoe UI" panose="020B0502040204020203" pitchFamily="34" charset="0"/>
            <a:cs typeface="Segoe UI" panose="020B0502040204020203" pitchFamily="34" charset="0"/>
          </a:endParaRPr>
        </a:p>
      </dgm:t>
    </dgm:pt>
    <dgm:pt modelId="{B73E009A-5841-45E2-A683-C130A9882A85}">
      <dgm:prSet custT="1">
        <dgm:style>
          <a:lnRef idx="2">
            <a:schemeClr val="accent5">
              <a:shade val="50000"/>
            </a:schemeClr>
          </a:lnRef>
          <a:fillRef idx="1">
            <a:schemeClr val="accent5"/>
          </a:fillRef>
          <a:effectRef idx="0">
            <a:schemeClr val="accent5"/>
          </a:effectRef>
          <a:fontRef idx="minor">
            <a:schemeClr val="lt1"/>
          </a:fontRef>
        </dgm:style>
      </dgm:prSet>
      <dgm:spPr>
        <a:solidFill>
          <a:schemeClr val="tx1">
            <a:lumMod val="75000"/>
            <a:lumOff val="25000"/>
          </a:schemeClr>
        </a:solidFill>
        <a:ln>
          <a:noFill/>
        </a:ln>
      </dgm:spPr>
      <dgm:t>
        <a:bodyPr/>
        <a:lstStyle/>
        <a:p>
          <a:pPr rtl="0"/>
          <a:r>
            <a:rPr lang="en-US" sz="2000" b="1" dirty="0" err="1">
              <a:solidFill>
                <a:schemeClr val="bg1"/>
              </a:solidFill>
              <a:latin typeface="Segoe UI" panose="020B0502040204020203" pitchFamily="34" charset="0"/>
              <a:cs typeface="Segoe UI" panose="020B0502040204020203" pitchFamily="34" charset="0"/>
            </a:rPr>
            <a:t>Simulasi</a:t>
          </a:r>
          <a:r>
            <a:rPr lang="en-US" sz="2000" b="1" dirty="0">
              <a:solidFill>
                <a:schemeClr val="bg1"/>
              </a:solidFill>
              <a:latin typeface="Segoe UI" panose="020B0502040204020203" pitchFamily="34" charset="0"/>
              <a:cs typeface="Segoe UI" panose="020B0502040204020203" pitchFamily="34" charset="0"/>
            </a:rPr>
            <a:t> </a:t>
          </a:r>
          <a:r>
            <a:rPr lang="en-US" sz="2000" b="1" dirty="0" err="1">
              <a:solidFill>
                <a:schemeClr val="bg1"/>
              </a:solidFill>
              <a:latin typeface="Segoe UI" panose="020B0502040204020203" pitchFamily="34" charset="0"/>
              <a:cs typeface="Segoe UI" panose="020B0502040204020203" pitchFamily="34" charset="0"/>
            </a:rPr>
            <a:t>Penggunaan</a:t>
          </a:r>
          <a:r>
            <a:rPr lang="en-US" sz="2000" b="1" dirty="0">
              <a:solidFill>
                <a:schemeClr val="bg1"/>
              </a:solidFill>
              <a:latin typeface="Segoe UI" panose="020B0502040204020203" pitchFamily="34" charset="0"/>
              <a:cs typeface="Segoe UI" panose="020B0502040204020203" pitchFamily="34" charset="0"/>
            </a:rPr>
            <a:t> </a:t>
          </a:r>
          <a:r>
            <a:rPr lang="en-US" sz="2000" b="1" dirty="0" err="1">
              <a:solidFill>
                <a:schemeClr val="bg1"/>
              </a:solidFill>
              <a:latin typeface="Segoe UI" panose="020B0502040204020203" pitchFamily="34" charset="0"/>
              <a:cs typeface="Segoe UI" panose="020B0502040204020203" pitchFamily="34" charset="0"/>
            </a:rPr>
            <a:t>Aplikasi</a:t>
          </a:r>
          <a:endParaRPr lang="en-ID" sz="2000" b="1" dirty="0">
            <a:solidFill>
              <a:schemeClr val="bg1"/>
            </a:solidFill>
            <a:latin typeface="Segoe UI" panose="020B0502040204020203" pitchFamily="34" charset="0"/>
            <a:cs typeface="Segoe UI" panose="020B0502040204020203" pitchFamily="34" charset="0"/>
          </a:endParaRPr>
        </a:p>
      </dgm:t>
    </dgm:pt>
    <dgm:pt modelId="{F51D4BC4-C601-4F19-83FF-48982A29697B}" type="parTrans" cxnId="{37361BE7-A14E-4949-A9D3-915868D7A5FF}">
      <dgm:prSet/>
      <dgm:spPr/>
      <dgm:t>
        <a:bodyPr/>
        <a:lstStyle/>
        <a:p>
          <a:endParaRPr lang="en-ID">
            <a:latin typeface="Segoe UI" panose="020B0502040204020203" pitchFamily="34" charset="0"/>
            <a:cs typeface="Segoe UI" panose="020B0502040204020203" pitchFamily="34" charset="0"/>
          </a:endParaRPr>
        </a:p>
      </dgm:t>
    </dgm:pt>
    <dgm:pt modelId="{71C396D8-ACE0-43D3-BC88-A88E57725610}" type="sibTrans" cxnId="{37361BE7-A14E-4949-A9D3-915868D7A5FF}">
      <dgm:prSet/>
      <dgm:spPr>
        <a:ln>
          <a:solidFill>
            <a:schemeClr val="tx1"/>
          </a:solidFill>
        </a:ln>
      </dgm:spPr>
      <dgm:t>
        <a:bodyPr/>
        <a:lstStyle/>
        <a:p>
          <a:endParaRPr lang="en-ID">
            <a:latin typeface="Segoe UI" panose="020B0502040204020203" pitchFamily="34" charset="0"/>
            <a:cs typeface="Segoe UI" panose="020B0502040204020203" pitchFamily="34" charset="0"/>
          </a:endParaRPr>
        </a:p>
      </dgm:t>
    </dgm:pt>
    <dgm:pt modelId="{27A306C4-2EB6-4A04-98B7-83C7706854EB}">
      <dgm:prSet custT="1"/>
      <dgm:spPr>
        <a:solidFill>
          <a:schemeClr val="accent4">
            <a:lumMod val="60000"/>
            <a:lumOff val="40000"/>
          </a:schemeClr>
        </a:solidFill>
        <a:ln>
          <a:noFill/>
        </a:ln>
      </dgm:spPr>
      <dgm:t>
        <a:bodyPr/>
        <a:lstStyle/>
        <a:p>
          <a:pPr rtl="0"/>
          <a:r>
            <a:rPr lang="en-US" sz="2000" b="1" dirty="0" err="1">
              <a:solidFill>
                <a:schemeClr val="tx1"/>
              </a:solidFill>
              <a:latin typeface="Segoe UI" panose="020B0502040204020203" pitchFamily="34" charset="0"/>
              <a:cs typeface="Segoe UI" panose="020B0502040204020203" pitchFamily="34" charset="0"/>
            </a:rPr>
            <a:t>Pengumpulan</a:t>
          </a:r>
          <a:r>
            <a:rPr lang="en-US" sz="2000" b="1" dirty="0">
              <a:solidFill>
                <a:schemeClr val="tx1"/>
              </a:solidFill>
              <a:latin typeface="Segoe UI" panose="020B0502040204020203" pitchFamily="34" charset="0"/>
              <a:cs typeface="Segoe UI" panose="020B0502040204020203" pitchFamily="34" charset="0"/>
            </a:rPr>
            <a:t> </a:t>
          </a:r>
          <a:r>
            <a:rPr lang="en-US" sz="2000" b="1" i="1">
              <a:solidFill>
                <a:schemeClr val="tx1"/>
              </a:solidFill>
              <a:latin typeface="Segoe UI" panose="020B0502040204020203" pitchFamily="34" charset="0"/>
              <a:cs typeface="Segoe UI" panose="020B0502040204020203" pitchFamily="34" charset="0"/>
            </a:rPr>
            <a:t>user experience</a:t>
          </a:r>
          <a:endParaRPr lang="en-US" sz="2000" b="1" i="1" dirty="0">
            <a:solidFill>
              <a:schemeClr val="tx1"/>
            </a:solidFill>
            <a:latin typeface="Segoe UI" panose="020B0502040204020203" pitchFamily="34" charset="0"/>
            <a:cs typeface="Segoe UI" panose="020B0502040204020203" pitchFamily="34" charset="0"/>
          </a:endParaRPr>
        </a:p>
      </dgm:t>
    </dgm:pt>
    <dgm:pt modelId="{8C533DCF-5950-4FAD-A122-F564A1DF135C}" type="parTrans" cxnId="{6415A390-B1A7-42BD-920B-2CE50E7DEC32}">
      <dgm:prSet/>
      <dgm:spPr/>
      <dgm:t>
        <a:bodyPr/>
        <a:lstStyle/>
        <a:p>
          <a:endParaRPr lang="en-ID">
            <a:latin typeface="Segoe UI" panose="020B0502040204020203" pitchFamily="34" charset="0"/>
            <a:cs typeface="Segoe UI" panose="020B0502040204020203" pitchFamily="34" charset="0"/>
          </a:endParaRPr>
        </a:p>
      </dgm:t>
    </dgm:pt>
    <dgm:pt modelId="{00BD438B-86C3-440D-8CAB-4F35767BADCA}" type="sibTrans" cxnId="{6415A390-B1A7-42BD-920B-2CE50E7DEC32}">
      <dgm:prSet/>
      <dgm:spPr>
        <a:ln>
          <a:solidFill>
            <a:schemeClr val="tx1"/>
          </a:solidFill>
        </a:ln>
      </dgm:spPr>
      <dgm:t>
        <a:bodyPr/>
        <a:lstStyle/>
        <a:p>
          <a:endParaRPr lang="en-ID">
            <a:latin typeface="Segoe UI" panose="020B0502040204020203" pitchFamily="34" charset="0"/>
            <a:cs typeface="Segoe UI" panose="020B0502040204020203" pitchFamily="34" charset="0"/>
          </a:endParaRPr>
        </a:p>
      </dgm:t>
    </dgm:pt>
    <dgm:pt modelId="{16EC98AF-2587-4465-9068-B5F3AF5B1583}">
      <dgm:prSet custT="1">
        <dgm:style>
          <a:lnRef idx="2">
            <a:schemeClr val="accent5">
              <a:shade val="50000"/>
            </a:schemeClr>
          </a:lnRef>
          <a:fillRef idx="1">
            <a:schemeClr val="accent5"/>
          </a:fillRef>
          <a:effectRef idx="0">
            <a:schemeClr val="accent5"/>
          </a:effectRef>
          <a:fontRef idx="minor">
            <a:schemeClr val="lt1"/>
          </a:fontRef>
        </dgm:style>
      </dgm:prSet>
      <dgm:spPr>
        <a:solidFill>
          <a:schemeClr val="tx1">
            <a:lumMod val="75000"/>
            <a:lumOff val="25000"/>
          </a:schemeClr>
        </a:solidFill>
        <a:ln>
          <a:noFill/>
        </a:ln>
      </dgm:spPr>
      <dgm:t>
        <a:bodyPr/>
        <a:lstStyle/>
        <a:p>
          <a:pPr rtl="0"/>
          <a:r>
            <a:rPr lang="en-US" sz="2000" b="1" dirty="0" err="1">
              <a:solidFill>
                <a:schemeClr val="bg1"/>
              </a:solidFill>
              <a:latin typeface="Segoe UI" panose="020B0502040204020203" pitchFamily="34" charset="0"/>
              <a:cs typeface="Segoe UI" panose="020B0502040204020203" pitchFamily="34" charset="0"/>
            </a:rPr>
            <a:t>Pendokumentasian</a:t>
          </a:r>
          <a:r>
            <a:rPr lang="en-US" sz="2000" b="1" dirty="0">
              <a:solidFill>
                <a:schemeClr val="bg1"/>
              </a:solidFill>
              <a:latin typeface="Segoe UI" panose="020B0502040204020203" pitchFamily="34" charset="0"/>
              <a:cs typeface="Segoe UI" panose="020B0502040204020203" pitchFamily="34" charset="0"/>
            </a:rPr>
            <a:t> </a:t>
          </a:r>
          <a:r>
            <a:rPr lang="en-US" sz="2000" b="1" dirty="0" err="1">
              <a:solidFill>
                <a:schemeClr val="bg1"/>
              </a:solidFill>
              <a:latin typeface="Segoe UI" panose="020B0502040204020203" pitchFamily="34" charset="0"/>
              <a:cs typeface="Segoe UI" panose="020B0502040204020203" pitchFamily="34" charset="0"/>
            </a:rPr>
            <a:t>dalam</a:t>
          </a:r>
          <a:r>
            <a:rPr lang="en-US" sz="2000" b="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Risk and Control Matrix</a:t>
          </a:r>
          <a:r>
            <a:rPr lang="en-US" sz="2000" b="1" dirty="0">
              <a:solidFill>
                <a:schemeClr val="bg1"/>
              </a:solidFill>
              <a:latin typeface="Segoe UI" panose="020B0502040204020203" pitchFamily="34" charset="0"/>
              <a:cs typeface="Segoe UI" panose="020B0502040204020203" pitchFamily="34" charset="0"/>
            </a:rPr>
            <a:t> (RCM)</a:t>
          </a:r>
          <a:endParaRPr lang="en-ID" sz="2000" b="1" dirty="0">
            <a:solidFill>
              <a:schemeClr val="bg1"/>
            </a:solidFill>
            <a:latin typeface="Segoe UI" panose="020B0502040204020203" pitchFamily="34" charset="0"/>
            <a:cs typeface="Segoe UI" panose="020B0502040204020203" pitchFamily="34" charset="0"/>
          </a:endParaRPr>
        </a:p>
      </dgm:t>
    </dgm:pt>
    <dgm:pt modelId="{372827B8-ADEC-4C16-AA67-565474A971B0}" type="parTrans" cxnId="{45FF83C8-B198-4DF3-A4F1-4A9936BB30D8}">
      <dgm:prSet/>
      <dgm:spPr/>
      <dgm:t>
        <a:bodyPr/>
        <a:lstStyle/>
        <a:p>
          <a:endParaRPr lang="en-ID">
            <a:latin typeface="Segoe UI" panose="020B0502040204020203" pitchFamily="34" charset="0"/>
            <a:cs typeface="Segoe UI" panose="020B0502040204020203" pitchFamily="34" charset="0"/>
          </a:endParaRPr>
        </a:p>
      </dgm:t>
    </dgm:pt>
    <dgm:pt modelId="{960B4B47-EFB6-4B39-A275-6E5B6C1FFDA9}" type="sibTrans" cxnId="{45FF83C8-B198-4DF3-A4F1-4A9936BB30D8}">
      <dgm:prSet/>
      <dgm:spPr/>
      <dgm:t>
        <a:bodyPr/>
        <a:lstStyle/>
        <a:p>
          <a:endParaRPr lang="en-ID">
            <a:latin typeface="Segoe UI" panose="020B0502040204020203" pitchFamily="34" charset="0"/>
            <a:cs typeface="Segoe UI" panose="020B0502040204020203" pitchFamily="34" charset="0"/>
          </a:endParaRPr>
        </a:p>
      </dgm:t>
    </dgm:pt>
    <dgm:pt modelId="{ABAC7CED-7A94-4963-A09E-21A74A742941}" type="pres">
      <dgm:prSet presAssocID="{B1F98758-4C7D-49AB-92D9-0438F8C35601}" presName="Name0" presStyleCnt="0">
        <dgm:presLayoutVars>
          <dgm:dir/>
          <dgm:resizeHandles val="exact"/>
        </dgm:presLayoutVars>
      </dgm:prSet>
      <dgm:spPr/>
    </dgm:pt>
    <dgm:pt modelId="{23DF649B-73E6-4BDE-941C-A4EFCA6716C8}" type="pres">
      <dgm:prSet presAssocID="{666DADCF-6AEB-44C5-BB3E-5618E0D4272E}" presName="node" presStyleLbl="node1" presStyleIdx="0" presStyleCnt="5">
        <dgm:presLayoutVars>
          <dgm:bulletEnabled val="1"/>
        </dgm:presLayoutVars>
      </dgm:prSet>
      <dgm:spPr/>
    </dgm:pt>
    <dgm:pt modelId="{3C9F1058-43AB-4667-B4DC-1658D739F731}" type="pres">
      <dgm:prSet presAssocID="{1A4B8A24-AD83-42A0-9557-D69C49AC3CDB}" presName="sibTrans" presStyleLbl="sibTrans1D1" presStyleIdx="0" presStyleCnt="4"/>
      <dgm:spPr/>
    </dgm:pt>
    <dgm:pt modelId="{54164588-8FB3-45DA-A8AD-19CC8F0942C2}" type="pres">
      <dgm:prSet presAssocID="{1A4B8A24-AD83-42A0-9557-D69C49AC3CDB}" presName="connectorText" presStyleLbl="sibTrans1D1" presStyleIdx="0" presStyleCnt="4"/>
      <dgm:spPr/>
    </dgm:pt>
    <dgm:pt modelId="{489EBCA8-2582-488F-9328-957B1FC13A4C}" type="pres">
      <dgm:prSet presAssocID="{F1F03C9D-9414-4F3B-8D67-E887962CC3DA}" presName="node" presStyleLbl="node1" presStyleIdx="1" presStyleCnt="5">
        <dgm:presLayoutVars>
          <dgm:bulletEnabled val="1"/>
        </dgm:presLayoutVars>
      </dgm:prSet>
      <dgm:spPr/>
    </dgm:pt>
    <dgm:pt modelId="{F8D43065-756D-448C-8A80-E3E7799E81D5}" type="pres">
      <dgm:prSet presAssocID="{3E811AF1-111B-46B8-A6EA-3B423F5D1625}" presName="sibTrans" presStyleLbl="sibTrans1D1" presStyleIdx="1" presStyleCnt="4"/>
      <dgm:spPr/>
    </dgm:pt>
    <dgm:pt modelId="{F0DE3899-7361-40B6-B589-C52DB9D0A3D7}" type="pres">
      <dgm:prSet presAssocID="{3E811AF1-111B-46B8-A6EA-3B423F5D1625}" presName="connectorText" presStyleLbl="sibTrans1D1" presStyleIdx="1" presStyleCnt="4"/>
      <dgm:spPr/>
    </dgm:pt>
    <dgm:pt modelId="{33053EC2-F6D3-49B2-87F4-9E3D0A13AFB3}" type="pres">
      <dgm:prSet presAssocID="{B73E009A-5841-45E2-A683-C130A9882A85}" presName="node" presStyleLbl="node1" presStyleIdx="2" presStyleCnt="5">
        <dgm:presLayoutVars>
          <dgm:bulletEnabled val="1"/>
        </dgm:presLayoutVars>
      </dgm:prSet>
      <dgm:spPr/>
    </dgm:pt>
    <dgm:pt modelId="{0505B2EE-4AE0-4118-9E5C-6EE34482BAE1}" type="pres">
      <dgm:prSet presAssocID="{71C396D8-ACE0-43D3-BC88-A88E57725610}" presName="sibTrans" presStyleLbl="sibTrans1D1" presStyleIdx="2" presStyleCnt="4"/>
      <dgm:spPr/>
    </dgm:pt>
    <dgm:pt modelId="{6B37D146-888B-4328-AC41-DB4144EEDABE}" type="pres">
      <dgm:prSet presAssocID="{71C396D8-ACE0-43D3-BC88-A88E57725610}" presName="connectorText" presStyleLbl="sibTrans1D1" presStyleIdx="2" presStyleCnt="4"/>
      <dgm:spPr/>
    </dgm:pt>
    <dgm:pt modelId="{E1B3783D-3734-4B21-AEED-DCA5A6C86B20}" type="pres">
      <dgm:prSet presAssocID="{27A306C4-2EB6-4A04-98B7-83C7706854EB}" presName="node" presStyleLbl="node1" presStyleIdx="3" presStyleCnt="5" custLinFactNeighborX="48976" custLinFactNeighborY="-628">
        <dgm:presLayoutVars>
          <dgm:bulletEnabled val="1"/>
        </dgm:presLayoutVars>
      </dgm:prSet>
      <dgm:spPr/>
    </dgm:pt>
    <dgm:pt modelId="{175847DF-8C92-4269-B5BA-AFA375F77EE4}" type="pres">
      <dgm:prSet presAssocID="{00BD438B-86C3-440D-8CAB-4F35767BADCA}" presName="sibTrans" presStyleLbl="sibTrans1D1" presStyleIdx="3" presStyleCnt="4"/>
      <dgm:spPr/>
    </dgm:pt>
    <dgm:pt modelId="{3024F587-1C98-4FC9-923C-332A25717FD6}" type="pres">
      <dgm:prSet presAssocID="{00BD438B-86C3-440D-8CAB-4F35767BADCA}" presName="connectorText" presStyleLbl="sibTrans1D1" presStyleIdx="3" presStyleCnt="4"/>
      <dgm:spPr/>
    </dgm:pt>
    <dgm:pt modelId="{B7B07608-BE08-422D-8852-1C7EAF95820A}" type="pres">
      <dgm:prSet presAssocID="{16EC98AF-2587-4465-9068-B5F3AF5B1583}" presName="node" presStyleLbl="node1" presStyleIdx="4" presStyleCnt="5" custLinFactNeighborX="72334" custLinFactNeighborY="-362">
        <dgm:presLayoutVars>
          <dgm:bulletEnabled val="1"/>
        </dgm:presLayoutVars>
      </dgm:prSet>
      <dgm:spPr/>
    </dgm:pt>
  </dgm:ptLst>
  <dgm:cxnLst>
    <dgm:cxn modelId="{2FA13504-CC7B-4525-8049-8E70967970E0}" type="presOf" srcId="{666DADCF-6AEB-44C5-BB3E-5618E0D4272E}" destId="{23DF649B-73E6-4BDE-941C-A4EFCA6716C8}" srcOrd="0" destOrd="0" presId="urn:microsoft.com/office/officeart/2005/8/layout/bProcess3"/>
    <dgm:cxn modelId="{5FF2C41B-B5D8-46ED-BDCE-1955704B83EE}" type="presOf" srcId="{3E811AF1-111B-46B8-A6EA-3B423F5D1625}" destId="{F8D43065-756D-448C-8A80-E3E7799E81D5}" srcOrd="0" destOrd="0" presId="urn:microsoft.com/office/officeart/2005/8/layout/bProcess3"/>
    <dgm:cxn modelId="{87C42621-0AD7-4FFC-86BF-B4AAC930C79F}" type="presOf" srcId="{F1F03C9D-9414-4F3B-8D67-E887962CC3DA}" destId="{489EBCA8-2582-488F-9328-957B1FC13A4C}" srcOrd="0" destOrd="0" presId="urn:microsoft.com/office/officeart/2005/8/layout/bProcess3"/>
    <dgm:cxn modelId="{D1713626-7A98-4ADD-81D8-3C0DB3CA76F5}" type="presOf" srcId="{B1F98758-4C7D-49AB-92D9-0438F8C35601}" destId="{ABAC7CED-7A94-4963-A09E-21A74A742941}" srcOrd="0" destOrd="0" presId="urn:microsoft.com/office/officeart/2005/8/layout/bProcess3"/>
    <dgm:cxn modelId="{7BF3A53B-25F3-446F-B56A-520AFDCC9FCA}" type="presOf" srcId="{1A4B8A24-AD83-42A0-9557-D69C49AC3CDB}" destId="{54164588-8FB3-45DA-A8AD-19CC8F0942C2}" srcOrd="1" destOrd="0" presId="urn:microsoft.com/office/officeart/2005/8/layout/bProcess3"/>
    <dgm:cxn modelId="{04ED393C-81FD-49B7-BB77-419620D082D2}" type="presOf" srcId="{16EC98AF-2587-4465-9068-B5F3AF5B1583}" destId="{B7B07608-BE08-422D-8852-1C7EAF95820A}" srcOrd="0" destOrd="0" presId="urn:microsoft.com/office/officeart/2005/8/layout/bProcess3"/>
    <dgm:cxn modelId="{A5256450-BB09-428A-A033-DF20BE121F68}" srcId="{B1F98758-4C7D-49AB-92D9-0438F8C35601}" destId="{666DADCF-6AEB-44C5-BB3E-5618E0D4272E}" srcOrd="0" destOrd="0" parTransId="{AA8732A7-A17B-4DA3-B241-F161B5615900}" sibTransId="{1A4B8A24-AD83-42A0-9557-D69C49AC3CDB}"/>
    <dgm:cxn modelId="{4CDDFB77-7533-4A97-A88B-BEC3F907279F}" type="presOf" srcId="{1A4B8A24-AD83-42A0-9557-D69C49AC3CDB}" destId="{3C9F1058-43AB-4667-B4DC-1658D739F731}" srcOrd="0" destOrd="0" presId="urn:microsoft.com/office/officeart/2005/8/layout/bProcess3"/>
    <dgm:cxn modelId="{9B3E3759-0DE7-49B4-BD63-C5FAA4078B09}" type="presOf" srcId="{71C396D8-ACE0-43D3-BC88-A88E57725610}" destId="{0505B2EE-4AE0-4118-9E5C-6EE34482BAE1}" srcOrd="0" destOrd="0" presId="urn:microsoft.com/office/officeart/2005/8/layout/bProcess3"/>
    <dgm:cxn modelId="{ACABD159-77F6-47BD-9160-2E82F4C89FC2}" type="presOf" srcId="{3E811AF1-111B-46B8-A6EA-3B423F5D1625}" destId="{F0DE3899-7361-40B6-B589-C52DB9D0A3D7}" srcOrd="1" destOrd="0" presId="urn:microsoft.com/office/officeart/2005/8/layout/bProcess3"/>
    <dgm:cxn modelId="{FF5E127C-7428-490A-A01A-F49E6EAC749B}" srcId="{B1F98758-4C7D-49AB-92D9-0438F8C35601}" destId="{F1F03C9D-9414-4F3B-8D67-E887962CC3DA}" srcOrd="1" destOrd="0" parTransId="{D38616EB-64F6-4027-A927-0BDCE32CCDE8}" sibTransId="{3E811AF1-111B-46B8-A6EA-3B423F5D1625}"/>
    <dgm:cxn modelId="{6415A390-B1A7-42BD-920B-2CE50E7DEC32}" srcId="{B1F98758-4C7D-49AB-92D9-0438F8C35601}" destId="{27A306C4-2EB6-4A04-98B7-83C7706854EB}" srcOrd="3" destOrd="0" parTransId="{8C533DCF-5950-4FAD-A122-F564A1DF135C}" sibTransId="{00BD438B-86C3-440D-8CAB-4F35767BADCA}"/>
    <dgm:cxn modelId="{68824FB1-8849-405C-8AE7-05EE228D5F2E}" type="presOf" srcId="{00BD438B-86C3-440D-8CAB-4F35767BADCA}" destId="{175847DF-8C92-4269-B5BA-AFA375F77EE4}" srcOrd="0" destOrd="0" presId="urn:microsoft.com/office/officeart/2005/8/layout/bProcess3"/>
    <dgm:cxn modelId="{45FF83C8-B198-4DF3-A4F1-4A9936BB30D8}" srcId="{B1F98758-4C7D-49AB-92D9-0438F8C35601}" destId="{16EC98AF-2587-4465-9068-B5F3AF5B1583}" srcOrd="4" destOrd="0" parTransId="{372827B8-ADEC-4C16-AA67-565474A971B0}" sibTransId="{960B4B47-EFB6-4B39-A275-6E5B6C1FFDA9}"/>
    <dgm:cxn modelId="{158ECECD-2067-4D9E-A9E1-AD1F41704ABA}" type="presOf" srcId="{B73E009A-5841-45E2-A683-C130A9882A85}" destId="{33053EC2-F6D3-49B2-87F4-9E3D0A13AFB3}" srcOrd="0" destOrd="0" presId="urn:microsoft.com/office/officeart/2005/8/layout/bProcess3"/>
    <dgm:cxn modelId="{F1A814D3-3BCF-438A-BA39-67D5BB5C8848}" type="presOf" srcId="{71C396D8-ACE0-43D3-BC88-A88E57725610}" destId="{6B37D146-888B-4328-AC41-DB4144EEDABE}" srcOrd="1" destOrd="0" presId="urn:microsoft.com/office/officeart/2005/8/layout/bProcess3"/>
    <dgm:cxn modelId="{2E8F6EDD-1A9B-40AD-84FF-391F6584722E}" type="presOf" srcId="{27A306C4-2EB6-4A04-98B7-83C7706854EB}" destId="{E1B3783D-3734-4B21-AEED-DCA5A6C86B20}" srcOrd="0" destOrd="0" presId="urn:microsoft.com/office/officeart/2005/8/layout/bProcess3"/>
    <dgm:cxn modelId="{37361BE7-A14E-4949-A9D3-915868D7A5FF}" srcId="{B1F98758-4C7D-49AB-92D9-0438F8C35601}" destId="{B73E009A-5841-45E2-A683-C130A9882A85}" srcOrd="2" destOrd="0" parTransId="{F51D4BC4-C601-4F19-83FF-48982A29697B}" sibTransId="{71C396D8-ACE0-43D3-BC88-A88E57725610}"/>
    <dgm:cxn modelId="{469377EC-7828-429C-A0C3-474E70D3038E}" type="presOf" srcId="{00BD438B-86C3-440D-8CAB-4F35767BADCA}" destId="{3024F587-1C98-4FC9-923C-332A25717FD6}" srcOrd="1" destOrd="0" presId="urn:microsoft.com/office/officeart/2005/8/layout/bProcess3"/>
    <dgm:cxn modelId="{B4FF68A8-4083-4EBC-BDD9-31069ABCFCF2}" type="presParOf" srcId="{ABAC7CED-7A94-4963-A09E-21A74A742941}" destId="{23DF649B-73E6-4BDE-941C-A4EFCA6716C8}" srcOrd="0" destOrd="0" presId="urn:microsoft.com/office/officeart/2005/8/layout/bProcess3"/>
    <dgm:cxn modelId="{77C870AB-FCEC-49B1-AA43-B1C430AA4EC5}" type="presParOf" srcId="{ABAC7CED-7A94-4963-A09E-21A74A742941}" destId="{3C9F1058-43AB-4667-B4DC-1658D739F731}" srcOrd="1" destOrd="0" presId="urn:microsoft.com/office/officeart/2005/8/layout/bProcess3"/>
    <dgm:cxn modelId="{AB678E10-1AE7-4C88-A383-E5D1CB6E21AB}" type="presParOf" srcId="{3C9F1058-43AB-4667-B4DC-1658D739F731}" destId="{54164588-8FB3-45DA-A8AD-19CC8F0942C2}" srcOrd="0" destOrd="0" presId="urn:microsoft.com/office/officeart/2005/8/layout/bProcess3"/>
    <dgm:cxn modelId="{6BB91C83-E6E7-496B-A7FF-B424E3B27E32}" type="presParOf" srcId="{ABAC7CED-7A94-4963-A09E-21A74A742941}" destId="{489EBCA8-2582-488F-9328-957B1FC13A4C}" srcOrd="2" destOrd="0" presId="urn:microsoft.com/office/officeart/2005/8/layout/bProcess3"/>
    <dgm:cxn modelId="{52AABC59-42FA-4641-B57B-D34401371FC2}" type="presParOf" srcId="{ABAC7CED-7A94-4963-A09E-21A74A742941}" destId="{F8D43065-756D-448C-8A80-E3E7799E81D5}" srcOrd="3" destOrd="0" presId="urn:microsoft.com/office/officeart/2005/8/layout/bProcess3"/>
    <dgm:cxn modelId="{FD62780C-0632-4DFC-A5CC-663515711483}" type="presParOf" srcId="{F8D43065-756D-448C-8A80-E3E7799E81D5}" destId="{F0DE3899-7361-40B6-B589-C52DB9D0A3D7}" srcOrd="0" destOrd="0" presId="urn:microsoft.com/office/officeart/2005/8/layout/bProcess3"/>
    <dgm:cxn modelId="{FD2756CF-555F-406A-ABBE-3C722194C896}" type="presParOf" srcId="{ABAC7CED-7A94-4963-A09E-21A74A742941}" destId="{33053EC2-F6D3-49B2-87F4-9E3D0A13AFB3}" srcOrd="4" destOrd="0" presId="urn:microsoft.com/office/officeart/2005/8/layout/bProcess3"/>
    <dgm:cxn modelId="{85D47726-C268-4A44-95DE-1A41439FCD11}" type="presParOf" srcId="{ABAC7CED-7A94-4963-A09E-21A74A742941}" destId="{0505B2EE-4AE0-4118-9E5C-6EE34482BAE1}" srcOrd="5" destOrd="0" presId="urn:microsoft.com/office/officeart/2005/8/layout/bProcess3"/>
    <dgm:cxn modelId="{EE7EA0C0-A8D7-4069-94AC-096420E6C00B}" type="presParOf" srcId="{0505B2EE-4AE0-4118-9E5C-6EE34482BAE1}" destId="{6B37D146-888B-4328-AC41-DB4144EEDABE}" srcOrd="0" destOrd="0" presId="urn:microsoft.com/office/officeart/2005/8/layout/bProcess3"/>
    <dgm:cxn modelId="{B2FF0E56-7BD3-4EBE-A960-4E56DFE28411}" type="presParOf" srcId="{ABAC7CED-7A94-4963-A09E-21A74A742941}" destId="{E1B3783D-3734-4B21-AEED-DCA5A6C86B20}" srcOrd="6" destOrd="0" presId="urn:microsoft.com/office/officeart/2005/8/layout/bProcess3"/>
    <dgm:cxn modelId="{4E7242E8-4E67-427D-8C3F-F05DD0E19CC2}" type="presParOf" srcId="{ABAC7CED-7A94-4963-A09E-21A74A742941}" destId="{175847DF-8C92-4269-B5BA-AFA375F77EE4}" srcOrd="7" destOrd="0" presId="urn:microsoft.com/office/officeart/2005/8/layout/bProcess3"/>
    <dgm:cxn modelId="{B21D90AC-6386-4E59-ABBF-E39628983744}" type="presParOf" srcId="{175847DF-8C92-4269-B5BA-AFA375F77EE4}" destId="{3024F587-1C98-4FC9-923C-332A25717FD6}" srcOrd="0" destOrd="0" presId="urn:microsoft.com/office/officeart/2005/8/layout/bProcess3"/>
    <dgm:cxn modelId="{0730ABFF-E68D-414A-B2E3-1D20B8CF13B3}" type="presParOf" srcId="{ABAC7CED-7A94-4963-A09E-21A74A742941}" destId="{B7B07608-BE08-422D-8852-1C7EAF95820A}" srcOrd="8"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DBF6C8-F6AB-4027-8A5E-6B6457823975}" type="doc">
      <dgm:prSet loTypeId="urn:microsoft.com/office/officeart/2005/8/layout/default" loCatId="list" qsTypeId="urn:microsoft.com/office/officeart/2005/8/quickstyle/simple2" qsCatId="simple" csTypeId="urn:microsoft.com/office/officeart/2005/8/colors/accent1_1" csCatId="accent1" phldr="1"/>
      <dgm:spPr/>
      <dgm:t>
        <a:bodyPr/>
        <a:lstStyle/>
        <a:p>
          <a:endParaRPr lang="en-ID"/>
        </a:p>
      </dgm:t>
    </dgm:pt>
    <dgm:pt modelId="{DB83E290-4FF9-4CFF-AD0E-B0FCDE6BD8CF}">
      <dgm:prSet phldrT="[Text]"/>
      <dgm:spPr/>
      <dgm:t>
        <a:bodyPr/>
        <a:lstStyle/>
        <a:p>
          <a:r>
            <a:rPr lang="en-US" dirty="0"/>
            <a:t>Manual / </a:t>
          </a:r>
          <a:br>
            <a:rPr lang="en-US" dirty="0"/>
          </a:br>
          <a:r>
            <a:rPr lang="en-US" dirty="0"/>
            <a:t>di </a:t>
          </a:r>
          <a:r>
            <a:rPr lang="en-US" dirty="0" err="1"/>
            <a:t>luar</a:t>
          </a:r>
          <a:r>
            <a:rPr lang="en-US" dirty="0"/>
            <a:t> </a:t>
          </a:r>
          <a:r>
            <a:rPr lang="en-US" dirty="0" err="1"/>
            <a:t>aplikasi</a:t>
          </a:r>
          <a:endParaRPr lang="en-ID" dirty="0"/>
        </a:p>
      </dgm:t>
    </dgm:pt>
    <dgm:pt modelId="{ECEEDF83-AF03-4F8D-82E8-C807FBC50BCF}" type="parTrans" cxnId="{67786FB9-19DD-428A-BD8F-D50C6931D6C1}">
      <dgm:prSet/>
      <dgm:spPr/>
      <dgm:t>
        <a:bodyPr/>
        <a:lstStyle/>
        <a:p>
          <a:endParaRPr lang="en-ID"/>
        </a:p>
      </dgm:t>
    </dgm:pt>
    <dgm:pt modelId="{3D7D8751-F84D-4BFF-A63F-0080F21A6383}" type="sibTrans" cxnId="{67786FB9-19DD-428A-BD8F-D50C6931D6C1}">
      <dgm:prSet/>
      <dgm:spPr/>
      <dgm:t>
        <a:bodyPr/>
        <a:lstStyle/>
        <a:p>
          <a:endParaRPr lang="en-ID"/>
        </a:p>
      </dgm:t>
    </dgm:pt>
    <dgm:pt modelId="{01ECD920-5BCB-4A1C-A952-1849E6AD37C6}">
      <dgm:prSet phldrT="[Text]"/>
      <dgm:spPr/>
      <dgm:t>
        <a:bodyPr/>
        <a:lstStyle/>
        <a:p>
          <a:r>
            <a:rPr lang="en-US" dirty="0"/>
            <a:t>IT </a:t>
          </a:r>
          <a:r>
            <a:rPr lang="en-US" dirty="0" err="1"/>
            <a:t>dependen</a:t>
          </a:r>
          <a:r>
            <a:rPr lang="en-US" dirty="0"/>
            <a:t> manual (ITDM) / semi manual </a:t>
          </a:r>
          <a:endParaRPr lang="en-ID" dirty="0"/>
        </a:p>
      </dgm:t>
    </dgm:pt>
    <dgm:pt modelId="{6FDEDDD9-8AAC-4DE9-A89C-319ACD2DB907}" type="parTrans" cxnId="{8CF78AFF-8EED-4DD9-9FFB-CDD09904CAE9}">
      <dgm:prSet/>
      <dgm:spPr/>
      <dgm:t>
        <a:bodyPr/>
        <a:lstStyle/>
        <a:p>
          <a:endParaRPr lang="en-ID"/>
        </a:p>
      </dgm:t>
    </dgm:pt>
    <dgm:pt modelId="{2FD20012-B224-4B5B-AE17-404B83E56411}" type="sibTrans" cxnId="{8CF78AFF-8EED-4DD9-9FFB-CDD09904CAE9}">
      <dgm:prSet/>
      <dgm:spPr/>
      <dgm:t>
        <a:bodyPr/>
        <a:lstStyle/>
        <a:p>
          <a:endParaRPr lang="en-ID"/>
        </a:p>
      </dgm:t>
    </dgm:pt>
    <dgm:pt modelId="{14C2CA62-DC5F-4AEB-8B81-7361D23A3B1D}">
      <dgm:prSet phldrT="[Text]"/>
      <dgm:spPr/>
      <dgm:t>
        <a:bodyPr/>
        <a:lstStyle/>
        <a:p>
          <a:r>
            <a:rPr lang="en-US" dirty="0" err="1"/>
            <a:t>Terotomasi</a:t>
          </a:r>
          <a:r>
            <a:rPr lang="en-US" dirty="0"/>
            <a:t> / </a:t>
          </a:r>
          <a:br>
            <a:rPr lang="en-US" dirty="0"/>
          </a:br>
          <a:r>
            <a:rPr lang="en-US" dirty="0"/>
            <a:t>di </a:t>
          </a:r>
          <a:r>
            <a:rPr lang="en-US" dirty="0" err="1"/>
            <a:t>dalam</a:t>
          </a:r>
          <a:r>
            <a:rPr lang="en-US" dirty="0"/>
            <a:t> </a:t>
          </a:r>
          <a:r>
            <a:rPr lang="en-US" dirty="0" err="1"/>
            <a:t>aplikasi</a:t>
          </a:r>
          <a:endParaRPr lang="en-ID" dirty="0"/>
        </a:p>
      </dgm:t>
    </dgm:pt>
    <dgm:pt modelId="{0793346C-A83F-4DE8-B764-E04849C9D3B4}" type="parTrans" cxnId="{7A33C260-FB43-429E-B3BB-5FF9CD8716CB}">
      <dgm:prSet/>
      <dgm:spPr/>
      <dgm:t>
        <a:bodyPr/>
        <a:lstStyle/>
        <a:p>
          <a:endParaRPr lang="en-ID"/>
        </a:p>
      </dgm:t>
    </dgm:pt>
    <dgm:pt modelId="{77748EB9-0F68-4DA5-81D6-911F1392D0F5}" type="sibTrans" cxnId="{7A33C260-FB43-429E-B3BB-5FF9CD8716CB}">
      <dgm:prSet/>
      <dgm:spPr/>
      <dgm:t>
        <a:bodyPr/>
        <a:lstStyle/>
        <a:p>
          <a:endParaRPr lang="en-ID"/>
        </a:p>
      </dgm:t>
    </dgm:pt>
    <dgm:pt modelId="{88CD7489-8358-42E3-876E-01888D3ABFA9}" type="pres">
      <dgm:prSet presAssocID="{95DBF6C8-F6AB-4027-8A5E-6B6457823975}" presName="diagram" presStyleCnt="0">
        <dgm:presLayoutVars>
          <dgm:dir/>
          <dgm:resizeHandles val="exact"/>
        </dgm:presLayoutVars>
      </dgm:prSet>
      <dgm:spPr/>
    </dgm:pt>
    <dgm:pt modelId="{C3E6095E-7AD9-458F-A071-C9953F6A0892}" type="pres">
      <dgm:prSet presAssocID="{DB83E290-4FF9-4CFF-AD0E-B0FCDE6BD8CF}" presName="node" presStyleLbl="node1" presStyleIdx="0" presStyleCnt="3" custScaleX="169322">
        <dgm:presLayoutVars>
          <dgm:bulletEnabled val="1"/>
        </dgm:presLayoutVars>
      </dgm:prSet>
      <dgm:spPr/>
    </dgm:pt>
    <dgm:pt modelId="{4E34A16F-5FAD-47A4-A1B2-2F85395F290C}" type="pres">
      <dgm:prSet presAssocID="{3D7D8751-F84D-4BFF-A63F-0080F21A6383}" presName="sibTrans" presStyleCnt="0"/>
      <dgm:spPr/>
    </dgm:pt>
    <dgm:pt modelId="{A2D2271D-EB14-45FB-9015-1374C4E94D7F}" type="pres">
      <dgm:prSet presAssocID="{01ECD920-5BCB-4A1C-A952-1849E6AD37C6}" presName="node" presStyleLbl="node1" presStyleIdx="1" presStyleCnt="3" custScaleX="169322">
        <dgm:presLayoutVars>
          <dgm:bulletEnabled val="1"/>
        </dgm:presLayoutVars>
      </dgm:prSet>
      <dgm:spPr/>
    </dgm:pt>
    <dgm:pt modelId="{6E21FF3F-355E-4607-9E06-ACD27F82CF97}" type="pres">
      <dgm:prSet presAssocID="{2FD20012-B224-4B5B-AE17-404B83E56411}" presName="sibTrans" presStyleCnt="0"/>
      <dgm:spPr/>
    </dgm:pt>
    <dgm:pt modelId="{EE23C0D9-91F9-4774-8D9A-5FD4651F587D}" type="pres">
      <dgm:prSet presAssocID="{14C2CA62-DC5F-4AEB-8B81-7361D23A3B1D}" presName="node" presStyleLbl="node1" presStyleIdx="2" presStyleCnt="3" custScaleX="169322">
        <dgm:presLayoutVars>
          <dgm:bulletEnabled val="1"/>
        </dgm:presLayoutVars>
      </dgm:prSet>
      <dgm:spPr/>
    </dgm:pt>
  </dgm:ptLst>
  <dgm:cxnLst>
    <dgm:cxn modelId="{CDFE972B-C62B-498C-B80F-65A36CE3FCF6}" type="presOf" srcId="{14C2CA62-DC5F-4AEB-8B81-7361D23A3B1D}" destId="{EE23C0D9-91F9-4774-8D9A-5FD4651F587D}" srcOrd="0" destOrd="0" presId="urn:microsoft.com/office/officeart/2005/8/layout/default"/>
    <dgm:cxn modelId="{7A33C260-FB43-429E-B3BB-5FF9CD8716CB}" srcId="{95DBF6C8-F6AB-4027-8A5E-6B6457823975}" destId="{14C2CA62-DC5F-4AEB-8B81-7361D23A3B1D}" srcOrd="2" destOrd="0" parTransId="{0793346C-A83F-4DE8-B764-E04849C9D3B4}" sibTransId="{77748EB9-0F68-4DA5-81D6-911F1392D0F5}"/>
    <dgm:cxn modelId="{BE00AB54-3301-4DEF-84A7-618C289DAC34}" type="presOf" srcId="{DB83E290-4FF9-4CFF-AD0E-B0FCDE6BD8CF}" destId="{C3E6095E-7AD9-458F-A071-C9953F6A0892}" srcOrd="0" destOrd="0" presId="urn:microsoft.com/office/officeart/2005/8/layout/default"/>
    <dgm:cxn modelId="{AA7F2786-9C8C-4AE6-9BCB-E02FF6025154}" type="presOf" srcId="{01ECD920-5BCB-4A1C-A952-1849E6AD37C6}" destId="{A2D2271D-EB14-45FB-9015-1374C4E94D7F}" srcOrd="0" destOrd="0" presId="urn:microsoft.com/office/officeart/2005/8/layout/default"/>
    <dgm:cxn modelId="{67786FB9-19DD-428A-BD8F-D50C6931D6C1}" srcId="{95DBF6C8-F6AB-4027-8A5E-6B6457823975}" destId="{DB83E290-4FF9-4CFF-AD0E-B0FCDE6BD8CF}" srcOrd="0" destOrd="0" parTransId="{ECEEDF83-AF03-4F8D-82E8-C807FBC50BCF}" sibTransId="{3D7D8751-F84D-4BFF-A63F-0080F21A6383}"/>
    <dgm:cxn modelId="{A17AB8D6-B768-4A4B-AA8E-3326619DC67C}" type="presOf" srcId="{95DBF6C8-F6AB-4027-8A5E-6B6457823975}" destId="{88CD7489-8358-42E3-876E-01888D3ABFA9}" srcOrd="0" destOrd="0" presId="urn:microsoft.com/office/officeart/2005/8/layout/default"/>
    <dgm:cxn modelId="{8CF78AFF-8EED-4DD9-9FFB-CDD09904CAE9}" srcId="{95DBF6C8-F6AB-4027-8A5E-6B6457823975}" destId="{01ECD920-5BCB-4A1C-A952-1849E6AD37C6}" srcOrd="1" destOrd="0" parTransId="{6FDEDDD9-8AAC-4DE9-A89C-319ACD2DB907}" sibTransId="{2FD20012-B224-4B5B-AE17-404B83E56411}"/>
    <dgm:cxn modelId="{0D537FC1-6C3C-47D0-83FA-9415DE10C22D}" type="presParOf" srcId="{88CD7489-8358-42E3-876E-01888D3ABFA9}" destId="{C3E6095E-7AD9-458F-A071-C9953F6A0892}" srcOrd="0" destOrd="0" presId="urn:microsoft.com/office/officeart/2005/8/layout/default"/>
    <dgm:cxn modelId="{5BF1FF58-E1FB-4A2F-96E7-F763EB2A9A6F}" type="presParOf" srcId="{88CD7489-8358-42E3-876E-01888D3ABFA9}" destId="{4E34A16F-5FAD-47A4-A1B2-2F85395F290C}" srcOrd="1" destOrd="0" presId="urn:microsoft.com/office/officeart/2005/8/layout/default"/>
    <dgm:cxn modelId="{ECCB21F7-B3DC-4788-AF1E-F71110B9A79C}" type="presParOf" srcId="{88CD7489-8358-42E3-876E-01888D3ABFA9}" destId="{A2D2271D-EB14-45FB-9015-1374C4E94D7F}" srcOrd="2" destOrd="0" presId="urn:microsoft.com/office/officeart/2005/8/layout/default"/>
    <dgm:cxn modelId="{885B7D2D-DAFB-42B8-9EF3-0DAD9346C0C1}" type="presParOf" srcId="{88CD7489-8358-42E3-876E-01888D3ABFA9}" destId="{6E21FF3F-355E-4607-9E06-ACD27F82CF97}" srcOrd="3" destOrd="0" presId="urn:microsoft.com/office/officeart/2005/8/layout/default"/>
    <dgm:cxn modelId="{626CB338-3F4E-448E-8404-4FEC5520F273}" type="presParOf" srcId="{88CD7489-8358-42E3-876E-01888D3ABFA9}" destId="{EE23C0D9-91F9-4774-8D9A-5FD4651F587D}"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740F93E-C109-4E14-846E-B742A446FE1F}" type="doc">
      <dgm:prSet loTypeId="urn:microsoft.com/office/officeart/2005/8/layout/vList3" loCatId="picture" qsTypeId="urn:microsoft.com/office/officeart/2005/8/quickstyle/simple2" qsCatId="simple" csTypeId="urn:microsoft.com/office/officeart/2005/8/colors/accent1_1" csCatId="accent1" phldr="1"/>
      <dgm:spPr/>
      <dgm:t>
        <a:bodyPr/>
        <a:lstStyle/>
        <a:p>
          <a:endParaRPr lang="en-ID"/>
        </a:p>
      </dgm:t>
    </dgm:pt>
    <dgm:pt modelId="{364EE5E2-DD8C-4530-9DEF-BA77E4926267}">
      <dgm:prSet phldrT="[Text]"/>
      <dgm:spPr/>
      <dgm:t>
        <a:bodyPr/>
        <a:lstStyle/>
        <a:p>
          <a:r>
            <a:rPr lang="en-US"/>
            <a:t>Peran Business Leader / Auditor Senior sangat penting dalam:</a:t>
          </a:r>
          <a:endParaRPr lang="en-ID" dirty="0"/>
        </a:p>
      </dgm:t>
    </dgm:pt>
    <dgm:pt modelId="{61EDF55E-EEC5-4A5F-830D-B7B505D86F3E}" type="parTrans" cxnId="{A88D431C-36FE-4EBD-BEBD-10D575097FFD}">
      <dgm:prSet/>
      <dgm:spPr/>
      <dgm:t>
        <a:bodyPr/>
        <a:lstStyle/>
        <a:p>
          <a:endParaRPr lang="en-ID">
            <a:solidFill>
              <a:schemeClr val="bg2"/>
            </a:solidFill>
          </a:endParaRPr>
        </a:p>
      </dgm:t>
    </dgm:pt>
    <dgm:pt modelId="{53F2EBC2-C555-40C9-8E58-FB2106A5D2E8}" type="sibTrans" cxnId="{A88D431C-36FE-4EBD-BEBD-10D575097FFD}">
      <dgm:prSet/>
      <dgm:spPr/>
      <dgm:t>
        <a:bodyPr/>
        <a:lstStyle/>
        <a:p>
          <a:endParaRPr lang="en-ID">
            <a:solidFill>
              <a:schemeClr val="bg2"/>
            </a:solidFill>
          </a:endParaRPr>
        </a:p>
      </dgm:t>
    </dgm:pt>
    <dgm:pt modelId="{2116C684-C360-4575-959A-34A349BB5E68}">
      <dgm:prSet phldrT="[Text]"/>
      <dgm:spPr/>
      <dgm:t>
        <a:bodyPr/>
        <a:lstStyle/>
        <a:p>
          <a:r>
            <a:rPr lang="en-US"/>
            <a:t>Identifikasi proses signifikan </a:t>
          </a:r>
          <a:r>
            <a:rPr lang="en-US" i="1"/>
            <a:t>beyond </a:t>
          </a:r>
          <a:r>
            <a:rPr lang="en-US"/>
            <a:t>SOP, karena perkembangan probis (terutama yang memanfaatkan IT) umumnya lebih cepat dari SOP</a:t>
          </a:r>
          <a:endParaRPr lang="en-ID" dirty="0"/>
        </a:p>
      </dgm:t>
    </dgm:pt>
    <dgm:pt modelId="{051ABAD0-F6CF-4E31-B9C9-F78F70B34175}" type="parTrans" cxnId="{A4C531AB-4369-4756-82DA-B577C5701346}">
      <dgm:prSet/>
      <dgm:spPr/>
      <dgm:t>
        <a:bodyPr/>
        <a:lstStyle/>
        <a:p>
          <a:endParaRPr lang="en-ID">
            <a:solidFill>
              <a:schemeClr val="bg2"/>
            </a:solidFill>
          </a:endParaRPr>
        </a:p>
      </dgm:t>
    </dgm:pt>
    <dgm:pt modelId="{1FF30A28-7D7F-4101-8F48-1386BAB2DAB1}" type="sibTrans" cxnId="{A4C531AB-4369-4756-82DA-B577C5701346}">
      <dgm:prSet/>
      <dgm:spPr/>
      <dgm:t>
        <a:bodyPr/>
        <a:lstStyle/>
        <a:p>
          <a:endParaRPr lang="en-ID">
            <a:solidFill>
              <a:schemeClr val="bg2"/>
            </a:solidFill>
          </a:endParaRPr>
        </a:p>
      </dgm:t>
    </dgm:pt>
    <dgm:pt modelId="{A63E99E4-A8EA-440E-81C7-BB200DA9A3C4}">
      <dgm:prSet phldrT="[Text]"/>
      <dgm:spPr/>
      <dgm:t>
        <a:bodyPr/>
        <a:lstStyle/>
        <a:p>
          <a:r>
            <a:rPr lang="en-US" dirty="0" err="1"/>
            <a:t>Pentingnya</a:t>
          </a:r>
          <a:r>
            <a:rPr lang="en-US" dirty="0"/>
            <a:t> </a:t>
          </a:r>
          <a:r>
            <a:rPr lang="en-US" dirty="0" err="1"/>
            <a:t>konfirmasi</a:t>
          </a:r>
          <a:r>
            <a:rPr lang="en-US" dirty="0"/>
            <a:t> RCM yang </a:t>
          </a:r>
          <a:r>
            <a:rPr lang="en-US" dirty="0" err="1"/>
            <a:t>dibuat</a:t>
          </a:r>
          <a:r>
            <a:rPr lang="en-US" dirty="0"/>
            <a:t> </a:t>
          </a:r>
          <a:r>
            <a:rPr lang="en-US" dirty="0" err="1"/>
            <a:t>dengan</a:t>
          </a:r>
          <a:r>
            <a:rPr lang="en-US" dirty="0"/>
            <a:t> </a:t>
          </a:r>
          <a:r>
            <a:rPr lang="en-US" dirty="0" err="1"/>
            <a:t>Klien</a:t>
          </a:r>
          <a:r>
            <a:rPr lang="en-US" dirty="0"/>
            <a:t> </a:t>
          </a:r>
          <a:r>
            <a:rPr lang="en-US" dirty="0" err="1"/>
            <a:t>Pengawasan</a:t>
          </a:r>
          <a:r>
            <a:rPr lang="en-US" dirty="0"/>
            <a:t> dan/</a:t>
          </a:r>
          <a:r>
            <a:rPr lang="en-US" dirty="0" err="1"/>
            <a:t>atau</a:t>
          </a:r>
          <a:r>
            <a:rPr lang="en-US" dirty="0"/>
            <a:t> </a:t>
          </a:r>
          <a:r>
            <a:rPr lang="en-US" i="1" dirty="0"/>
            <a:t>second line of defense</a:t>
          </a:r>
          <a:endParaRPr lang="en-ID" dirty="0"/>
        </a:p>
      </dgm:t>
    </dgm:pt>
    <dgm:pt modelId="{E394ABC6-8D97-41C5-B3A7-57D7E035150A}" type="parTrans" cxnId="{E05B8D30-3715-4035-B334-1950DB65B4E0}">
      <dgm:prSet/>
      <dgm:spPr/>
      <dgm:t>
        <a:bodyPr/>
        <a:lstStyle/>
        <a:p>
          <a:endParaRPr lang="en-ID">
            <a:solidFill>
              <a:schemeClr val="bg2"/>
            </a:solidFill>
          </a:endParaRPr>
        </a:p>
      </dgm:t>
    </dgm:pt>
    <dgm:pt modelId="{39AC9842-5599-488C-98C5-2F69BF140C46}" type="sibTrans" cxnId="{E05B8D30-3715-4035-B334-1950DB65B4E0}">
      <dgm:prSet/>
      <dgm:spPr/>
      <dgm:t>
        <a:bodyPr/>
        <a:lstStyle/>
        <a:p>
          <a:endParaRPr lang="en-ID">
            <a:solidFill>
              <a:schemeClr val="bg2"/>
            </a:solidFill>
          </a:endParaRPr>
        </a:p>
      </dgm:t>
    </dgm:pt>
    <dgm:pt modelId="{81F7F986-47CA-4121-93CD-604F7E49BF71}">
      <dgm:prSet/>
      <dgm:spPr/>
      <dgm:t>
        <a:bodyPr/>
        <a:lstStyle/>
        <a:p>
          <a:r>
            <a:rPr lang="en-US"/>
            <a:t>menentukan tujuan</a:t>
          </a:r>
          <a:endParaRPr lang="en-US" dirty="0"/>
        </a:p>
      </dgm:t>
    </dgm:pt>
    <dgm:pt modelId="{06D4A65E-CA55-4F23-9E53-1648EF1E4B87}" type="parTrans" cxnId="{281FEE10-6C89-4EBA-9407-6F8C1A4A477F}">
      <dgm:prSet/>
      <dgm:spPr/>
      <dgm:t>
        <a:bodyPr/>
        <a:lstStyle/>
        <a:p>
          <a:endParaRPr lang="en-ID">
            <a:solidFill>
              <a:schemeClr val="bg2"/>
            </a:solidFill>
          </a:endParaRPr>
        </a:p>
      </dgm:t>
    </dgm:pt>
    <dgm:pt modelId="{404BAE7D-787F-4CDB-B3F7-F1A011C0318F}" type="sibTrans" cxnId="{281FEE10-6C89-4EBA-9407-6F8C1A4A477F}">
      <dgm:prSet/>
      <dgm:spPr/>
      <dgm:t>
        <a:bodyPr/>
        <a:lstStyle/>
        <a:p>
          <a:endParaRPr lang="en-ID">
            <a:solidFill>
              <a:schemeClr val="bg2"/>
            </a:solidFill>
          </a:endParaRPr>
        </a:p>
      </dgm:t>
    </dgm:pt>
    <dgm:pt modelId="{A053DB0B-69A8-409D-BF43-4C152A82CCE7}">
      <dgm:prSet/>
      <dgm:spPr/>
      <dgm:t>
        <a:bodyPr/>
        <a:lstStyle/>
        <a:p>
          <a:r>
            <a:rPr lang="en-US"/>
            <a:t>membimbing anggota tim menentukan aktivitas berisiko</a:t>
          </a:r>
          <a:endParaRPr lang="en-ID" dirty="0"/>
        </a:p>
      </dgm:t>
    </dgm:pt>
    <dgm:pt modelId="{986CA62E-DC66-4E0D-B503-5E59FDC9BCAF}" type="parTrans" cxnId="{8D8E18D2-EA9E-48D6-980F-0E7C6F376B2B}">
      <dgm:prSet/>
      <dgm:spPr/>
      <dgm:t>
        <a:bodyPr/>
        <a:lstStyle/>
        <a:p>
          <a:endParaRPr lang="en-ID">
            <a:solidFill>
              <a:schemeClr val="bg2"/>
            </a:solidFill>
          </a:endParaRPr>
        </a:p>
      </dgm:t>
    </dgm:pt>
    <dgm:pt modelId="{13144EEC-1F8E-4E52-BFC0-1E184D6DEDA7}" type="sibTrans" cxnId="{8D8E18D2-EA9E-48D6-980F-0E7C6F376B2B}">
      <dgm:prSet/>
      <dgm:spPr/>
      <dgm:t>
        <a:bodyPr/>
        <a:lstStyle/>
        <a:p>
          <a:endParaRPr lang="en-ID">
            <a:solidFill>
              <a:schemeClr val="bg2"/>
            </a:solidFill>
          </a:endParaRPr>
        </a:p>
      </dgm:t>
    </dgm:pt>
    <dgm:pt modelId="{88F32BEA-E231-43E7-BF57-68448859C4C5}" type="pres">
      <dgm:prSet presAssocID="{6740F93E-C109-4E14-846E-B742A446FE1F}" presName="linearFlow" presStyleCnt="0">
        <dgm:presLayoutVars>
          <dgm:dir/>
          <dgm:resizeHandles val="exact"/>
        </dgm:presLayoutVars>
      </dgm:prSet>
      <dgm:spPr/>
    </dgm:pt>
    <dgm:pt modelId="{C35CDFB5-EC2A-4D84-8C60-EE7806257D79}" type="pres">
      <dgm:prSet presAssocID="{364EE5E2-DD8C-4530-9DEF-BA77E4926267}" presName="composite" presStyleCnt="0"/>
      <dgm:spPr/>
    </dgm:pt>
    <dgm:pt modelId="{3E499F35-73F8-435D-88D3-BC3B99D8B542}" type="pres">
      <dgm:prSet presAssocID="{364EE5E2-DD8C-4530-9DEF-BA77E4926267}" presName="imgShp"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17000" r="-17000"/>
          </a:stretch>
        </a:blipFill>
      </dgm:spPr>
    </dgm:pt>
    <dgm:pt modelId="{6024996B-4C10-4F00-A238-4E439DEBB46D}" type="pres">
      <dgm:prSet presAssocID="{364EE5E2-DD8C-4530-9DEF-BA77E4926267}" presName="txShp" presStyleLbl="node1" presStyleIdx="0" presStyleCnt="3">
        <dgm:presLayoutVars>
          <dgm:bulletEnabled val="1"/>
        </dgm:presLayoutVars>
      </dgm:prSet>
      <dgm:spPr/>
    </dgm:pt>
    <dgm:pt modelId="{DD340067-18D6-4FD1-8335-1EE18ED12EDB}" type="pres">
      <dgm:prSet presAssocID="{53F2EBC2-C555-40C9-8E58-FB2106A5D2E8}" presName="spacing" presStyleCnt="0"/>
      <dgm:spPr/>
    </dgm:pt>
    <dgm:pt modelId="{81C34D08-BE93-45F6-B36B-7A687B98FA12}" type="pres">
      <dgm:prSet presAssocID="{2116C684-C360-4575-959A-34A349BB5E68}" presName="composite" presStyleCnt="0"/>
      <dgm:spPr/>
    </dgm:pt>
    <dgm:pt modelId="{06FF2D76-2853-4CE1-9357-C9A6EF9840FB}" type="pres">
      <dgm:prSet presAssocID="{2116C684-C360-4575-959A-34A349BB5E68}" presName="imgShp" presStyleLbl="fgImgPlace1" presStyleIdx="1" presStyleCnt="3"/>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328" t="-1549" r="-966" b="1549"/>
          </a:stretch>
        </a:blipFill>
      </dgm:spPr>
    </dgm:pt>
    <dgm:pt modelId="{BC86E8AD-9775-45A3-97B1-AFD8172C29B4}" type="pres">
      <dgm:prSet presAssocID="{2116C684-C360-4575-959A-34A349BB5E68}" presName="txShp" presStyleLbl="node1" presStyleIdx="1" presStyleCnt="3">
        <dgm:presLayoutVars>
          <dgm:bulletEnabled val="1"/>
        </dgm:presLayoutVars>
      </dgm:prSet>
      <dgm:spPr/>
    </dgm:pt>
    <dgm:pt modelId="{E5DE64F4-13BD-4967-A374-70F585E1BD8D}" type="pres">
      <dgm:prSet presAssocID="{1FF30A28-7D7F-4101-8F48-1386BAB2DAB1}" presName="spacing" presStyleCnt="0"/>
      <dgm:spPr/>
    </dgm:pt>
    <dgm:pt modelId="{A6384479-859E-4C1C-850C-C6A0D28E87B1}" type="pres">
      <dgm:prSet presAssocID="{A63E99E4-A8EA-440E-81C7-BB200DA9A3C4}" presName="composite" presStyleCnt="0"/>
      <dgm:spPr/>
    </dgm:pt>
    <dgm:pt modelId="{EE2677E8-45C0-46A8-A2A3-4B1CF11629F5}" type="pres">
      <dgm:prSet presAssocID="{A63E99E4-A8EA-440E-81C7-BB200DA9A3C4}" presName="imgShp" presStyleLbl="fgImgPlace1" presStyleIdx="2" presStyleCnt="3"/>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l="-16000" r="-16000"/>
          </a:stretch>
        </a:blipFill>
      </dgm:spPr>
    </dgm:pt>
    <dgm:pt modelId="{C8E2E5AD-7A00-429F-8791-9E14142D19CC}" type="pres">
      <dgm:prSet presAssocID="{A63E99E4-A8EA-440E-81C7-BB200DA9A3C4}" presName="txShp" presStyleLbl="node1" presStyleIdx="2" presStyleCnt="3">
        <dgm:presLayoutVars>
          <dgm:bulletEnabled val="1"/>
        </dgm:presLayoutVars>
      </dgm:prSet>
      <dgm:spPr/>
    </dgm:pt>
  </dgm:ptLst>
  <dgm:cxnLst>
    <dgm:cxn modelId="{D5FEC607-B30E-48F2-B406-88C6EDBE0859}" type="presOf" srcId="{A63E99E4-A8EA-440E-81C7-BB200DA9A3C4}" destId="{C8E2E5AD-7A00-429F-8791-9E14142D19CC}" srcOrd="0" destOrd="0" presId="urn:microsoft.com/office/officeart/2005/8/layout/vList3"/>
    <dgm:cxn modelId="{281FEE10-6C89-4EBA-9407-6F8C1A4A477F}" srcId="{364EE5E2-DD8C-4530-9DEF-BA77E4926267}" destId="{81F7F986-47CA-4121-93CD-604F7E49BF71}" srcOrd="0" destOrd="0" parTransId="{06D4A65E-CA55-4F23-9E53-1648EF1E4B87}" sibTransId="{404BAE7D-787F-4CDB-B3F7-F1A011C0318F}"/>
    <dgm:cxn modelId="{A88D431C-36FE-4EBD-BEBD-10D575097FFD}" srcId="{6740F93E-C109-4E14-846E-B742A446FE1F}" destId="{364EE5E2-DD8C-4530-9DEF-BA77E4926267}" srcOrd="0" destOrd="0" parTransId="{61EDF55E-EEC5-4A5F-830D-B7B505D86F3E}" sibTransId="{53F2EBC2-C555-40C9-8E58-FB2106A5D2E8}"/>
    <dgm:cxn modelId="{E05B8D30-3715-4035-B334-1950DB65B4E0}" srcId="{6740F93E-C109-4E14-846E-B742A446FE1F}" destId="{A63E99E4-A8EA-440E-81C7-BB200DA9A3C4}" srcOrd="2" destOrd="0" parTransId="{E394ABC6-8D97-41C5-B3A7-57D7E035150A}" sibTransId="{39AC9842-5599-488C-98C5-2F69BF140C46}"/>
    <dgm:cxn modelId="{7494C23F-6D1F-4460-AFFF-85FCDC65B40E}" type="presOf" srcId="{A053DB0B-69A8-409D-BF43-4C152A82CCE7}" destId="{6024996B-4C10-4F00-A238-4E439DEBB46D}" srcOrd="0" destOrd="2" presId="urn:microsoft.com/office/officeart/2005/8/layout/vList3"/>
    <dgm:cxn modelId="{F1EDD966-ED48-478C-8C1E-05751C813EDF}" type="presOf" srcId="{2116C684-C360-4575-959A-34A349BB5E68}" destId="{BC86E8AD-9775-45A3-97B1-AFD8172C29B4}" srcOrd="0" destOrd="0" presId="urn:microsoft.com/office/officeart/2005/8/layout/vList3"/>
    <dgm:cxn modelId="{6965D467-AFAA-4CCA-90B8-D3BEC3A2A76B}" type="presOf" srcId="{364EE5E2-DD8C-4530-9DEF-BA77E4926267}" destId="{6024996B-4C10-4F00-A238-4E439DEBB46D}" srcOrd="0" destOrd="0" presId="urn:microsoft.com/office/officeart/2005/8/layout/vList3"/>
    <dgm:cxn modelId="{A4C531AB-4369-4756-82DA-B577C5701346}" srcId="{6740F93E-C109-4E14-846E-B742A446FE1F}" destId="{2116C684-C360-4575-959A-34A349BB5E68}" srcOrd="1" destOrd="0" parTransId="{051ABAD0-F6CF-4E31-B9C9-F78F70B34175}" sibTransId="{1FF30A28-7D7F-4101-8F48-1386BAB2DAB1}"/>
    <dgm:cxn modelId="{9631A0C3-C4F0-4792-9596-7D9CE3D51A21}" type="presOf" srcId="{6740F93E-C109-4E14-846E-B742A446FE1F}" destId="{88F32BEA-E231-43E7-BF57-68448859C4C5}" srcOrd="0" destOrd="0" presId="urn:microsoft.com/office/officeart/2005/8/layout/vList3"/>
    <dgm:cxn modelId="{8D8E18D2-EA9E-48D6-980F-0E7C6F376B2B}" srcId="{364EE5E2-DD8C-4530-9DEF-BA77E4926267}" destId="{A053DB0B-69A8-409D-BF43-4C152A82CCE7}" srcOrd="1" destOrd="0" parTransId="{986CA62E-DC66-4E0D-B503-5E59FDC9BCAF}" sibTransId="{13144EEC-1F8E-4E52-BFC0-1E184D6DEDA7}"/>
    <dgm:cxn modelId="{82AEA1E7-AD4A-4D38-9CFB-208E1400085D}" type="presOf" srcId="{81F7F986-47CA-4121-93CD-604F7E49BF71}" destId="{6024996B-4C10-4F00-A238-4E439DEBB46D}" srcOrd="0" destOrd="1" presId="urn:microsoft.com/office/officeart/2005/8/layout/vList3"/>
    <dgm:cxn modelId="{2B23D3AB-9A52-4222-809A-1E861872E5C1}" type="presParOf" srcId="{88F32BEA-E231-43E7-BF57-68448859C4C5}" destId="{C35CDFB5-EC2A-4D84-8C60-EE7806257D79}" srcOrd="0" destOrd="0" presId="urn:microsoft.com/office/officeart/2005/8/layout/vList3"/>
    <dgm:cxn modelId="{8EBA794F-6119-4370-9D7D-428F1BC09257}" type="presParOf" srcId="{C35CDFB5-EC2A-4D84-8C60-EE7806257D79}" destId="{3E499F35-73F8-435D-88D3-BC3B99D8B542}" srcOrd="0" destOrd="0" presId="urn:microsoft.com/office/officeart/2005/8/layout/vList3"/>
    <dgm:cxn modelId="{7F402881-69C7-4FFC-9910-7B7615E4D43B}" type="presParOf" srcId="{C35CDFB5-EC2A-4D84-8C60-EE7806257D79}" destId="{6024996B-4C10-4F00-A238-4E439DEBB46D}" srcOrd="1" destOrd="0" presId="urn:microsoft.com/office/officeart/2005/8/layout/vList3"/>
    <dgm:cxn modelId="{B3D7151C-4543-4DBE-86E8-EE03553BFF93}" type="presParOf" srcId="{88F32BEA-E231-43E7-BF57-68448859C4C5}" destId="{DD340067-18D6-4FD1-8335-1EE18ED12EDB}" srcOrd="1" destOrd="0" presId="urn:microsoft.com/office/officeart/2005/8/layout/vList3"/>
    <dgm:cxn modelId="{789554C8-968A-4F9C-B94D-D471326D2475}" type="presParOf" srcId="{88F32BEA-E231-43E7-BF57-68448859C4C5}" destId="{81C34D08-BE93-45F6-B36B-7A687B98FA12}" srcOrd="2" destOrd="0" presId="urn:microsoft.com/office/officeart/2005/8/layout/vList3"/>
    <dgm:cxn modelId="{366EDAB2-C758-411F-BF13-2573E952D037}" type="presParOf" srcId="{81C34D08-BE93-45F6-B36B-7A687B98FA12}" destId="{06FF2D76-2853-4CE1-9357-C9A6EF9840FB}" srcOrd="0" destOrd="0" presId="urn:microsoft.com/office/officeart/2005/8/layout/vList3"/>
    <dgm:cxn modelId="{51DA7982-69DA-4DF6-8E8F-3A9F2843F4F4}" type="presParOf" srcId="{81C34D08-BE93-45F6-B36B-7A687B98FA12}" destId="{BC86E8AD-9775-45A3-97B1-AFD8172C29B4}" srcOrd="1" destOrd="0" presId="urn:microsoft.com/office/officeart/2005/8/layout/vList3"/>
    <dgm:cxn modelId="{2DA0380A-6795-454C-990F-2E47243067CD}" type="presParOf" srcId="{88F32BEA-E231-43E7-BF57-68448859C4C5}" destId="{E5DE64F4-13BD-4967-A374-70F585E1BD8D}" srcOrd="3" destOrd="0" presId="urn:microsoft.com/office/officeart/2005/8/layout/vList3"/>
    <dgm:cxn modelId="{F3D8CBF8-E1E6-4843-BAEA-3841E934455C}" type="presParOf" srcId="{88F32BEA-E231-43E7-BF57-68448859C4C5}" destId="{A6384479-859E-4C1C-850C-C6A0D28E87B1}" srcOrd="4" destOrd="0" presId="urn:microsoft.com/office/officeart/2005/8/layout/vList3"/>
    <dgm:cxn modelId="{8FFBEBD1-3F12-42D7-92AB-9FA3E5165945}" type="presParOf" srcId="{A6384479-859E-4C1C-850C-C6A0D28E87B1}" destId="{EE2677E8-45C0-46A8-A2A3-4B1CF11629F5}" srcOrd="0" destOrd="0" presId="urn:microsoft.com/office/officeart/2005/8/layout/vList3"/>
    <dgm:cxn modelId="{5FD0E6A8-4C1C-470D-88AB-8B2FCF8A75B9}" type="presParOf" srcId="{A6384479-859E-4C1C-850C-C6A0D28E87B1}" destId="{C8E2E5AD-7A00-429F-8791-9E14142D19CC}"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986DE4D-D5BB-4A2D-8DF9-25BA542FDF1B}" type="doc">
      <dgm:prSet loTypeId="urn:microsoft.com/office/officeart/2005/8/layout/hProcess4" loCatId="process" qsTypeId="urn:microsoft.com/office/officeart/2005/8/quickstyle/simple2" qsCatId="simple" csTypeId="urn:microsoft.com/office/officeart/2005/8/colors/accent0_3" csCatId="mainScheme" phldr="1"/>
      <dgm:spPr/>
      <dgm:t>
        <a:bodyPr/>
        <a:lstStyle/>
        <a:p>
          <a:endParaRPr lang="en-AU"/>
        </a:p>
      </dgm:t>
    </dgm:pt>
    <dgm:pt modelId="{AD319810-9110-4133-8EB9-EE0B5D266486}">
      <dgm:prSet phldrT="[Text]"/>
      <dgm:spPr/>
      <dgm:t>
        <a:bodyPr/>
        <a:lstStyle/>
        <a:p>
          <a:r>
            <a:rPr lang="en-AU" dirty="0"/>
            <a:t>TABK</a:t>
          </a:r>
        </a:p>
      </dgm:t>
    </dgm:pt>
    <dgm:pt modelId="{96DDD866-F311-4072-93C4-407B6CFEE7E0}" type="parTrans" cxnId="{19F8EE44-FCD6-4BCA-BC3B-E0C99AAF7318}">
      <dgm:prSet/>
      <dgm:spPr/>
      <dgm:t>
        <a:bodyPr/>
        <a:lstStyle/>
        <a:p>
          <a:endParaRPr lang="en-AU"/>
        </a:p>
      </dgm:t>
    </dgm:pt>
    <dgm:pt modelId="{259922CD-DBE2-49D3-8B7F-88590196BB20}" type="sibTrans" cxnId="{19F8EE44-FCD6-4BCA-BC3B-E0C99AAF7318}">
      <dgm:prSet/>
      <dgm:spPr/>
      <dgm:t>
        <a:bodyPr/>
        <a:lstStyle/>
        <a:p>
          <a:endParaRPr lang="en-AU"/>
        </a:p>
      </dgm:t>
    </dgm:pt>
    <dgm:pt modelId="{E0A413D8-69F7-4DA4-BD39-E5C8CF10AA23}">
      <dgm:prSet phldrT="[Text]"/>
      <dgm:spPr/>
      <dgm:t>
        <a:bodyPr/>
        <a:lstStyle/>
        <a:p>
          <a:r>
            <a:rPr lang="en-AU" dirty="0" err="1"/>
            <a:t>Inisiasi</a:t>
          </a:r>
          <a:r>
            <a:rPr lang="en-AU" dirty="0"/>
            <a:t> </a:t>
          </a:r>
          <a:r>
            <a:rPr lang="en-AU" dirty="0" err="1"/>
            <a:t>awal</a:t>
          </a:r>
          <a:r>
            <a:rPr lang="en-AU" dirty="0"/>
            <a:t> CA</a:t>
          </a:r>
        </a:p>
      </dgm:t>
    </dgm:pt>
    <dgm:pt modelId="{E434710B-A1D9-4BCE-B6C6-1DD2DE3424A8}" type="parTrans" cxnId="{F425FBC8-634D-4C6A-97D4-019486567F03}">
      <dgm:prSet/>
      <dgm:spPr/>
      <dgm:t>
        <a:bodyPr/>
        <a:lstStyle/>
        <a:p>
          <a:endParaRPr lang="en-AU"/>
        </a:p>
      </dgm:t>
    </dgm:pt>
    <dgm:pt modelId="{975D2A3B-4A47-4B43-893A-274A7A524509}" type="sibTrans" cxnId="{F425FBC8-634D-4C6A-97D4-019486567F03}">
      <dgm:prSet/>
      <dgm:spPr/>
      <dgm:t>
        <a:bodyPr/>
        <a:lstStyle/>
        <a:p>
          <a:endParaRPr lang="en-AU"/>
        </a:p>
      </dgm:t>
    </dgm:pt>
    <dgm:pt modelId="{B4308C6E-A74B-4467-A2FC-B4EF361FDDB8}">
      <dgm:prSet phldrT="[Text]"/>
      <dgm:spPr/>
      <dgm:t>
        <a:bodyPr/>
        <a:lstStyle/>
        <a:p>
          <a:r>
            <a:rPr lang="en-AU" dirty="0"/>
            <a:t>Continuous Audit (CA)</a:t>
          </a:r>
        </a:p>
      </dgm:t>
    </dgm:pt>
    <dgm:pt modelId="{F14E88F1-2EDC-4167-B1E1-14F198FF7EC2}" type="parTrans" cxnId="{373582FE-1318-4CD1-9F87-04A33559A036}">
      <dgm:prSet/>
      <dgm:spPr/>
      <dgm:t>
        <a:bodyPr/>
        <a:lstStyle/>
        <a:p>
          <a:endParaRPr lang="en-AU"/>
        </a:p>
      </dgm:t>
    </dgm:pt>
    <dgm:pt modelId="{2B4F9613-8A4C-4FFD-B3A4-E90BA42BA9EF}" type="sibTrans" cxnId="{373582FE-1318-4CD1-9F87-04A33559A036}">
      <dgm:prSet/>
      <dgm:spPr/>
      <dgm:t>
        <a:bodyPr/>
        <a:lstStyle/>
        <a:p>
          <a:endParaRPr lang="en-AU"/>
        </a:p>
      </dgm:t>
    </dgm:pt>
    <dgm:pt modelId="{6AB366E4-5DB8-4943-BB23-08172DC324B5}">
      <dgm:prSet phldrT="[Text]"/>
      <dgm:spPr/>
      <dgm:t>
        <a:bodyPr/>
        <a:lstStyle/>
        <a:p>
          <a:r>
            <a:rPr lang="en-AU" dirty="0" err="1"/>
            <a:t>Otomasi</a:t>
          </a:r>
          <a:r>
            <a:rPr lang="en-AU" dirty="0"/>
            <a:t> </a:t>
          </a:r>
          <a:r>
            <a:rPr lang="en-AU" dirty="0" err="1"/>
            <a:t>Pengujian</a:t>
          </a:r>
          <a:r>
            <a:rPr lang="en-AU" dirty="0"/>
            <a:t> TABK</a:t>
          </a:r>
        </a:p>
      </dgm:t>
    </dgm:pt>
    <dgm:pt modelId="{3FAE1103-FC79-420E-B9D1-4D8C6A406C05}" type="parTrans" cxnId="{D014C2F9-2EB7-4BAA-A684-BBF71530967D}">
      <dgm:prSet/>
      <dgm:spPr/>
      <dgm:t>
        <a:bodyPr/>
        <a:lstStyle/>
        <a:p>
          <a:endParaRPr lang="en-AU"/>
        </a:p>
      </dgm:t>
    </dgm:pt>
    <dgm:pt modelId="{6E294094-0E7E-467A-A57F-474CCDD052B8}" type="sibTrans" cxnId="{D014C2F9-2EB7-4BAA-A684-BBF71530967D}">
      <dgm:prSet/>
      <dgm:spPr/>
      <dgm:t>
        <a:bodyPr/>
        <a:lstStyle/>
        <a:p>
          <a:endParaRPr lang="en-AU"/>
        </a:p>
      </dgm:t>
    </dgm:pt>
    <dgm:pt modelId="{1780D938-FA21-49D5-9834-4D7E9FD94742}">
      <dgm:prSet phldrT="[Text]"/>
      <dgm:spPr/>
      <dgm:t>
        <a:bodyPr/>
        <a:lstStyle/>
        <a:p>
          <a:r>
            <a:rPr lang="en-AU" dirty="0"/>
            <a:t>CA </a:t>
          </a:r>
          <a:r>
            <a:rPr lang="en-AU" dirty="0" err="1"/>
            <a:t>tanpa</a:t>
          </a:r>
          <a:r>
            <a:rPr lang="en-AU" dirty="0"/>
            <a:t> </a:t>
          </a:r>
          <a:r>
            <a:rPr lang="en-AU" dirty="0" err="1"/>
            <a:t>anomali</a:t>
          </a:r>
          <a:r>
            <a:rPr lang="en-AU" dirty="0"/>
            <a:t> </a:t>
          </a:r>
          <a:r>
            <a:rPr lang="en-AU" dirty="0" err="1"/>
            <a:t>indikasi</a:t>
          </a:r>
          <a:r>
            <a:rPr lang="en-AU" dirty="0"/>
            <a:t> :</a:t>
          </a:r>
        </a:p>
      </dgm:t>
    </dgm:pt>
    <dgm:pt modelId="{4EECA922-B52B-492E-AF53-B3FC12866F09}" type="parTrans" cxnId="{FDA74B7C-DE7F-44E8-BC2F-A1B1747E8635}">
      <dgm:prSet/>
      <dgm:spPr/>
      <dgm:t>
        <a:bodyPr/>
        <a:lstStyle/>
        <a:p>
          <a:endParaRPr lang="en-AU"/>
        </a:p>
      </dgm:t>
    </dgm:pt>
    <dgm:pt modelId="{DBC1CD95-C6F1-4315-BFAC-0B1BA0D298FB}" type="sibTrans" cxnId="{FDA74B7C-DE7F-44E8-BC2F-A1B1747E8635}">
      <dgm:prSet/>
      <dgm:spPr/>
      <dgm:t>
        <a:bodyPr/>
        <a:lstStyle/>
        <a:p>
          <a:endParaRPr lang="en-AU"/>
        </a:p>
      </dgm:t>
    </dgm:pt>
    <dgm:pt modelId="{0B94B9FC-EFA2-4F8D-A5CB-1388D9EB2DEB}">
      <dgm:prSet phldrT="[Text]"/>
      <dgm:spPr/>
      <dgm:t>
        <a:bodyPr/>
        <a:lstStyle/>
        <a:p>
          <a:r>
            <a:rPr lang="en-AU" dirty="0"/>
            <a:t>Fields audit tools</a:t>
          </a:r>
        </a:p>
      </dgm:t>
    </dgm:pt>
    <dgm:pt modelId="{2518E87F-7F4E-4A80-824B-0104E160AEF7}" type="parTrans" cxnId="{99EF0282-D85D-4F32-97BA-B34A84A1B20F}">
      <dgm:prSet/>
      <dgm:spPr/>
      <dgm:t>
        <a:bodyPr/>
        <a:lstStyle/>
        <a:p>
          <a:endParaRPr lang="en-AU"/>
        </a:p>
      </dgm:t>
    </dgm:pt>
    <dgm:pt modelId="{BBFBD951-7839-4717-AFF2-CF0ECB2CEA07}" type="sibTrans" cxnId="{99EF0282-D85D-4F32-97BA-B34A84A1B20F}">
      <dgm:prSet/>
      <dgm:spPr/>
      <dgm:t>
        <a:bodyPr/>
        <a:lstStyle/>
        <a:p>
          <a:endParaRPr lang="en-AU"/>
        </a:p>
      </dgm:t>
    </dgm:pt>
    <dgm:pt modelId="{9095B3C0-DA41-4913-858D-19B41AA6B0FC}">
      <dgm:prSet phldrT="[Text]"/>
      <dgm:spPr/>
      <dgm:t>
        <a:bodyPr/>
        <a:lstStyle/>
        <a:p>
          <a:r>
            <a:rPr lang="en-AU" dirty="0" err="1"/>
            <a:t>Dapat</a:t>
          </a:r>
          <a:r>
            <a:rPr lang="en-AU" dirty="0"/>
            <a:t> </a:t>
          </a:r>
          <a:r>
            <a:rPr lang="en-AU" dirty="0" err="1"/>
            <a:t>dikombinasikan</a:t>
          </a:r>
          <a:r>
            <a:rPr lang="en-AU" dirty="0"/>
            <a:t> dg </a:t>
          </a:r>
          <a:r>
            <a:rPr lang="en-AU" dirty="0" err="1"/>
            <a:t>teknik</a:t>
          </a:r>
          <a:r>
            <a:rPr lang="en-AU" dirty="0"/>
            <a:t> lain</a:t>
          </a:r>
        </a:p>
      </dgm:t>
    </dgm:pt>
    <dgm:pt modelId="{3A3B63D3-A2EE-48A1-9229-3870CFC99F5E}" type="parTrans" cxnId="{32F48692-E536-491E-94BD-493EFB6E7CCC}">
      <dgm:prSet/>
      <dgm:spPr/>
      <dgm:t>
        <a:bodyPr/>
        <a:lstStyle/>
        <a:p>
          <a:endParaRPr lang="en-AU"/>
        </a:p>
      </dgm:t>
    </dgm:pt>
    <dgm:pt modelId="{6235382B-7A78-4823-BA07-2C2E608BC5D4}" type="sibTrans" cxnId="{32F48692-E536-491E-94BD-493EFB6E7CCC}">
      <dgm:prSet/>
      <dgm:spPr/>
      <dgm:t>
        <a:bodyPr/>
        <a:lstStyle/>
        <a:p>
          <a:endParaRPr lang="en-AU"/>
        </a:p>
      </dgm:t>
    </dgm:pt>
    <dgm:pt modelId="{BB8BE633-36E8-4675-8CA6-1F2718BEF4B3}">
      <dgm:prSet phldrT="[Text]"/>
      <dgm:spPr/>
      <dgm:t>
        <a:bodyPr/>
        <a:lstStyle/>
        <a:p>
          <a:r>
            <a:rPr lang="en-AU" dirty="0" err="1"/>
            <a:t>Pengendalian</a:t>
          </a:r>
          <a:r>
            <a:rPr lang="en-AU" dirty="0"/>
            <a:t> Intern</a:t>
          </a:r>
        </a:p>
      </dgm:t>
    </dgm:pt>
    <dgm:pt modelId="{289383B9-E594-4134-91DF-0FC48B4CE378}" type="parTrans" cxnId="{9222333F-53CF-4838-AA81-2FB57F10B3DD}">
      <dgm:prSet/>
      <dgm:spPr/>
      <dgm:t>
        <a:bodyPr/>
        <a:lstStyle/>
        <a:p>
          <a:endParaRPr lang="en-AU"/>
        </a:p>
      </dgm:t>
    </dgm:pt>
    <dgm:pt modelId="{955D2EC0-849D-4B0F-B8BE-F5F3A94DB8D1}" type="sibTrans" cxnId="{9222333F-53CF-4838-AA81-2FB57F10B3DD}">
      <dgm:prSet/>
      <dgm:spPr/>
      <dgm:t>
        <a:bodyPr/>
        <a:lstStyle/>
        <a:p>
          <a:endParaRPr lang="en-AU"/>
        </a:p>
      </dgm:t>
    </dgm:pt>
    <dgm:pt modelId="{C937679F-3FCA-4B63-9D0F-C15F0A3DC5AF}">
      <dgm:prSet phldrT="[Text]"/>
      <dgm:spPr/>
      <dgm:t>
        <a:bodyPr/>
        <a:lstStyle/>
        <a:p>
          <a:r>
            <a:rPr lang="en-AU" dirty="0" err="1"/>
            <a:t>Mitigasi</a:t>
          </a:r>
          <a:r>
            <a:rPr lang="en-AU" dirty="0"/>
            <a:t> </a:t>
          </a:r>
          <a:r>
            <a:rPr lang="en-AU" dirty="0" err="1"/>
            <a:t>Risiko</a:t>
          </a:r>
          <a:endParaRPr lang="en-AU" dirty="0"/>
        </a:p>
      </dgm:t>
    </dgm:pt>
    <dgm:pt modelId="{2F12C679-C415-4D2E-A65C-20569DAEE965}" type="parTrans" cxnId="{BAF66EE4-816A-40CC-99C1-3478C4B4424B}">
      <dgm:prSet/>
      <dgm:spPr/>
      <dgm:t>
        <a:bodyPr/>
        <a:lstStyle/>
        <a:p>
          <a:endParaRPr lang="en-AU"/>
        </a:p>
      </dgm:t>
    </dgm:pt>
    <dgm:pt modelId="{D771B9B6-E110-4B3A-B4B6-85F6339688C7}" type="sibTrans" cxnId="{BAF66EE4-816A-40CC-99C1-3478C4B4424B}">
      <dgm:prSet/>
      <dgm:spPr/>
      <dgm:t>
        <a:bodyPr/>
        <a:lstStyle/>
        <a:p>
          <a:endParaRPr lang="en-AU"/>
        </a:p>
      </dgm:t>
    </dgm:pt>
    <dgm:pt modelId="{96507DA6-ABD1-4278-903A-01DE37A16581}">
      <dgm:prSet phldrT="[Text]"/>
      <dgm:spPr/>
      <dgm:t>
        <a:bodyPr/>
        <a:lstStyle/>
        <a:p>
          <a:endParaRPr lang="en-AU" dirty="0"/>
        </a:p>
      </dgm:t>
    </dgm:pt>
    <dgm:pt modelId="{7D7561DA-75F1-4759-AC3C-75CBE1867FF3}" type="parTrans" cxnId="{2B1F3DD7-2A8C-42C1-BC83-BD0ED379E34D}">
      <dgm:prSet/>
      <dgm:spPr/>
      <dgm:t>
        <a:bodyPr/>
        <a:lstStyle/>
        <a:p>
          <a:endParaRPr lang="en-AU"/>
        </a:p>
      </dgm:t>
    </dgm:pt>
    <dgm:pt modelId="{00AD5BB2-055C-41B0-AE0A-31729FC10D8A}" type="sibTrans" cxnId="{2B1F3DD7-2A8C-42C1-BC83-BD0ED379E34D}">
      <dgm:prSet/>
      <dgm:spPr/>
      <dgm:t>
        <a:bodyPr/>
        <a:lstStyle/>
        <a:p>
          <a:endParaRPr lang="en-AU"/>
        </a:p>
      </dgm:t>
    </dgm:pt>
    <dgm:pt modelId="{1299D218-6BDB-4465-882B-F95368AB683C}">
      <dgm:prSet phldrT="[Text]"/>
      <dgm:spPr/>
      <dgm:t>
        <a:bodyPr/>
        <a:lstStyle/>
        <a:p>
          <a:r>
            <a:rPr lang="en-AU" dirty="0" err="1"/>
            <a:t>Probis</a:t>
          </a:r>
          <a:r>
            <a:rPr lang="en-AU" dirty="0"/>
            <a:t> </a:t>
          </a:r>
          <a:r>
            <a:rPr lang="en-AU" dirty="0" err="1"/>
            <a:t>bebas</a:t>
          </a:r>
          <a:r>
            <a:rPr lang="en-AU" dirty="0"/>
            <a:t> </a:t>
          </a:r>
          <a:r>
            <a:rPr lang="en-AU" dirty="0" err="1"/>
            <a:t>dari</a:t>
          </a:r>
          <a:r>
            <a:rPr lang="en-AU" dirty="0"/>
            <a:t> </a:t>
          </a:r>
          <a:r>
            <a:rPr lang="en-AU" dirty="0" err="1"/>
            <a:t>kesalahan</a:t>
          </a:r>
          <a:r>
            <a:rPr lang="en-AU" dirty="0"/>
            <a:t> material</a:t>
          </a:r>
        </a:p>
      </dgm:t>
    </dgm:pt>
    <dgm:pt modelId="{87D53979-C2B1-40C8-BDF2-AE2CF27DECEC}" type="parTrans" cxnId="{279A1CF9-963F-4F6F-B506-F3E648FE65EA}">
      <dgm:prSet/>
      <dgm:spPr/>
      <dgm:t>
        <a:bodyPr/>
        <a:lstStyle/>
        <a:p>
          <a:endParaRPr lang="en-AU"/>
        </a:p>
      </dgm:t>
    </dgm:pt>
    <dgm:pt modelId="{32AF72D2-9069-44DC-B70E-02E4C54EB773}" type="sibTrans" cxnId="{279A1CF9-963F-4F6F-B506-F3E648FE65EA}">
      <dgm:prSet/>
      <dgm:spPr/>
      <dgm:t>
        <a:bodyPr/>
        <a:lstStyle/>
        <a:p>
          <a:endParaRPr lang="en-AU"/>
        </a:p>
      </dgm:t>
    </dgm:pt>
    <dgm:pt modelId="{0475246C-6236-45AA-8924-9D288CA2FD9C}" type="pres">
      <dgm:prSet presAssocID="{C986DE4D-D5BB-4A2D-8DF9-25BA542FDF1B}" presName="Name0" presStyleCnt="0">
        <dgm:presLayoutVars>
          <dgm:dir/>
          <dgm:animLvl val="lvl"/>
          <dgm:resizeHandles val="exact"/>
        </dgm:presLayoutVars>
      </dgm:prSet>
      <dgm:spPr/>
    </dgm:pt>
    <dgm:pt modelId="{195547B2-B703-4203-9507-A70D676CB252}" type="pres">
      <dgm:prSet presAssocID="{C986DE4D-D5BB-4A2D-8DF9-25BA542FDF1B}" presName="tSp" presStyleCnt="0"/>
      <dgm:spPr/>
    </dgm:pt>
    <dgm:pt modelId="{2F3BF341-CEDC-4580-A3C0-D11CD33C195F}" type="pres">
      <dgm:prSet presAssocID="{C986DE4D-D5BB-4A2D-8DF9-25BA542FDF1B}" presName="bSp" presStyleCnt="0"/>
      <dgm:spPr/>
    </dgm:pt>
    <dgm:pt modelId="{55E55D79-D251-4488-A2A4-2D99FFA9C21C}" type="pres">
      <dgm:prSet presAssocID="{C986DE4D-D5BB-4A2D-8DF9-25BA542FDF1B}" presName="process" presStyleCnt="0"/>
      <dgm:spPr/>
    </dgm:pt>
    <dgm:pt modelId="{AFD700F2-AF90-44C0-9D11-B131120E2E7E}" type="pres">
      <dgm:prSet presAssocID="{AD319810-9110-4133-8EB9-EE0B5D266486}" presName="composite1" presStyleCnt="0"/>
      <dgm:spPr/>
    </dgm:pt>
    <dgm:pt modelId="{6C8927B0-9B71-4888-99EC-E7C077F5AA60}" type="pres">
      <dgm:prSet presAssocID="{AD319810-9110-4133-8EB9-EE0B5D266486}" presName="dummyNode1" presStyleLbl="node1" presStyleIdx="0" presStyleCnt="2"/>
      <dgm:spPr/>
    </dgm:pt>
    <dgm:pt modelId="{644B283A-9E48-45BF-AE01-B9EB53E80428}" type="pres">
      <dgm:prSet presAssocID="{AD319810-9110-4133-8EB9-EE0B5D266486}" presName="childNode1" presStyleLbl="bgAcc1" presStyleIdx="0" presStyleCnt="2">
        <dgm:presLayoutVars>
          <dgm:bulletEnabled val="1"/>
        </dgm:presLayoutVars>
      </dgm:prSet>
      <dgm:spPr/>
    </dgm:pt>
    <dgm:pt modelId="{8B49E804-9B23-4BD4-950A-4CDD8AABAECE}" type="pres">
      <dgm:prSet presAssocID="{AD319810-9110-4133-8EB9-EE0B5D266486}" presName="childNode1tx" presStyleLbl="bgAcc1" presStyleIdx="0" presStyleCnt="2">
        <dgm:presLayoutVars>
          <dgm:bulletEnabled val="1"/>
        </dgm:presLayoutVars>
      </dgm:prSet>
      <dgm:spPr/>
    </dgm:pt>
    <dgm:pt modelId="{A5248725-B18F-4FA2-B882-8A941A3F09A8}" type="pres">
      <dgm:prSet presAssocID="{AD319810-9110-4133-8EB9-EE0B5D266486}" presName="parentNode1" presStyleLbl="node1" presStyleIdx="0" presStyleCnt="2">
        <dgm:presLayoutVars>
          <dgm:chMax val="1"/>
          <dgm:bulletEnabled val="1"/>
        </dgm:presLayoutVars>
      </dgm:prSet>
      <dgm:spPr/>
    </dgm:pt>
    <dgm:pt modelId="{4E7775B3-22BE-42BC-BFB1-157A97CF6255}" type="pres">
      <dgm:prSet presAssocID="{AD319810-9110-4133-8EB9-EE0B5D266486}" presName="connSite1" presStyleCnt="0"/>
      <dgm:spPr/>
    </dgm:pt>
    <dgm:pt modelId="{29B95550-F5DF-4EF2-A56B-DC55E501AABD}" type="pres">
      <dgm:prSet presAssocID="{259922CD-DBE2-49D3-8B7F-88590196BB20}" presName="Name9" presStyleLbl="sibTrans2D1" presStyleIdx="0" presStyleCnt="1"/>
      <dgm:spPr/>
    </dgm:pt>
    <dgm:pt modelId="{E101172D-7332-45A4-AC19-26C706FAD743}" type="pres">
      <dgm:prSet presAssocID="{B4308C6E-A74B-4467-A2FC-B4EF361FDDB8}" presName="composite2" presStyleCnt="0"/>
      <dgm:spPr/>
    </dgm:pt>
    <dgm:pt modelId="{FFE89B72-C3CC-4FE5-858A-0F6D406023A0}" type="pres">
      <dgm:prSet presAssocID="{B4308C6E-A74B-4467-A2FC-B4EF361FDDB8}" presName="dummyNode2" presStyleLbl="node1" presStyleIdx="0" presStyleCnt="2"/>
      <dgm:spPr/>
    </dgm:pt>
    <dgm:pt modelId="{7F11CB49-F138-48D7-B497-F7F6080E0E6E}" type="pres">
      <dgm:prSet presAssocID="{B4308C6E-A74B-4467-A2FC-B4EF361FDDB8}" presName="childNode2" presStyleLbl="bgAcc1" presStyleIdx="1" presStyleCnt="2">
        <dgm:presLayoutVars>
          <dgm:bulletEnabled val="1"/>
        </dgm:presLayoutVars>
      </dgm:prSet>
      <dgm:spPr/>
    </dgm:pt>
    <dgm:pt modelId="{21DB7543-C162-4207-9203-36FDBE484845}" type="pres">
      <dgm:prSet presAssocID="{B4308C6E-A74B-4467-A2FC-B4EF361FDDB8}" presName="childNode2tx" presStyleLbl="bgAcc1" presStyleIdx="1" presStyleCnt="2">
        <dgm:presLayoutVars>
          <dgm:bulletEnabled val="1"/>
        </dgm:presLayoutVars>
      </dgm:prSet>
      <dgm:spPr/>
    </dgm:pt>
    <dgm:pt modelId="{B4B6677B-A310-48CE-9207-B6F0ADF08C20}" type="pres">
      <dgm:prSet presAssocID="{B4308C6E-A74B-4467-A2FC-B4EF361FDDB8}" presName="parentNode2" presStyleLbl="node1" presStyleIdx="1" presStyleCnt="2">
        <dgm:presLayoutVars>
          <dgm:chMax val="0"/>
          <dgm:bulletEnabled val="1"/>
        </dgm:presLayoutVars>
      </dgm:prSet>
      <dgm:spPr/>
    </dgm:pt>
    <dgm:pt modelId="{EBAC3329-D6B7-43EA-AF24-90FA0138408D}" type="pres">
      <dgm:prSet presAssocID="{B4308C6E-A74B-4467-A2FC-B4EF361FDDB8}" presName="connSite2" presStyleCnt="0"/>
      <dgm:spPr/>
    </dgm:pt>
  </dgm:ptLst>
  <dgm:cxnLst>
    <dgm:cxn modelId="{8C85B908-33D9-4872-9C31-FE4562B57637}" type="presOf" srcId="{AD319810-9110-4133-8EB9-EE0B5D266486}" destId="{A5248725-B18F-4FA2-B882-8A941A3F09A8}" srcOrd="0" destOrd="0" presId="urn:microsoft.com/office/officeart/2005/8/layout/hProcess4"/>
    <dgm:cxn modelId="{6F2D461A-D480-4709-A2C4-FB0D76179DB0}" type="presOf" srcId="{96507DA6-ABD1-4278-903A-01DE37A16581}" destId="{21DB7543-C162-4207-9203-36FDBE484845}" srcOrd="1" destOrd="5" presId="urn:microsoft.com/office/officeart/2005/8/layout/hProcess4"/>
    <dgm:cxn modelId="{F050D029-0C38-415D-B1FF-8D28982DFDDE}" type="presOf" srcId="{C986DE4D-D5BB-4A2D-8DF9-25BA542FDF1B}" destId="{0475246C-6236-45AA-8924-9D288CA2FD9C}" srcOrd="0" destOrd="0" presId="urn:microsoft.com/office/officeart/2005/8/layout/hProcess4"/>
    <dgm:cxn modelId="{C9B1232B-3B33-484E-8A76-6FA949472489}" type="presOf" srcId="{259922CD-DBE2-49D3-8B7F-88590196BB20}" destId="{29B95550-F5DF-4EF2-A56B-DC55E501AABD}" srcOrd="0" destOrd="0" presId="urn:microsoft.com/office/officeart/2005/8/layout/hProcess4"/>
    <dgm:cxn modelId="{9675662B-C333-4C3F-991E-2B568643265D}" type="presOf" srcId="{1780D938-FA21-49D5-9834-4D7E9FD94742}" destId="{21DB7543-C162-4207-9203-36FDBE484845}" srcOrd="1" destOrd="1" presId="urn:microsoft.com/office/officeart/2005/8/layout/hProcess4"/>
    <dgm:cxn modelId="{3E668B3A-AF04-4A43-B116-6F4E094D9A4D}" type="presOf" srcId="{6AB366E4-5DB8-4943-BB23-08172DC324B5}" destId="{7F11CB49-F138-48D7-B497-F7F6080E0E6E}" srcOrd="0" destOrd="0" presId="urn:microsoft.com/office/officeart/2005/8/layout/hProcess4"/>
    <dgm:cxn modelId="{9222333F-53CF-4838-AA81-2FB57F10B3DD}" srcId="{1780D938-FA21-49D5-9834-4D7E9FD94742}" destId="{BB8BE633-36E8-4675-8CA6-1F2718BEF4B3}" srcOrd="0" destOrd="0" parTransId="{289383B9-E594-4134-91DF-0FC48B4CE378}" sibTransId="{955D2EC0-849D-4B0F-B8BE-F5F3A94DB8D1}"/>
    <dgm:cxn modelId="{D05D8660-353E-4A46-B207-D422CBB47DEB}" type="presOf" srcId="{BB8BE633-36E8-4675-8CA6-1F2718BEF4B3}" destId="{7F11CB49-F138-48D7-B497-F7F6080E0E6E}" srcOrd="0" destOrd="2" presId="urn:microsoft.com/office/officeart/2005/8/layout/hProcess4"/>
    <dgm:cxn modelId="{19F8EE44-FCD6-4BCA-BC3B-E0C99AAF7318}" srcId="{C986DE4D-D5BB-4A2D-8DF9-25BA542FDF1B}" destId="{AD319810-9110-4133-8EB9-EE0B5D266486}" srcOrd="0" destOrd="0" parTransId="{96DDD866-F311-4072-93C4-407B6CFEE7E0}" sibTransId="{259922CD-DBE2-49D3-8B7F-88590196BB20}"/>
    <dgm:cxn modelId="{89F03C56-2A7E-4489-B2CC-30EF55E15DB0}" type="presOf" srcId="{6AB366E4-5DB8-4943-BB23-08172DC324B5}" destId="{21DB7543-C162-4207-9203-36FDBE484845}" srcOrd="1" destOrd="0" presId="urn:microsoft.com/office/officeart/2005/8/layout/hProcess4"/>
    <dgm:cxn modelId="{E4A56E58-D224-438C-9F59-2E78D783953F}" type="presOf" srcId="{1299D218-6BDB-4465-882B-F95368AB683C}" destId="{7F11CB49-F138-48D7-B497-F7F6080E0E6E}" srcOrd="0" destOrd="4" presId="urn:microsoft.com/office/officeart/2005/8/layout/hProcess4"/>
    <dgm:cxn modelId="{8B65F279-6A19-416F-9A4F-334719D0067A}" type="presOf" srcId="{BB8BE633-36E8-4675-8CA6-1F2718BEF4B3}" destId="{21DB7543-C162-4207-9203-36FDBE484845}" srcOrd="1" destOrd="2" presId="urn:microsoft.com/office/officeart/2005/8/layout/hProcess4"/>
    <dgm:cxn modelId="{02D93A5A-9B85-4B0C-AFFB-D3E018CCF92F}" type="presOf" srcId="{E0A413D8-69F7-4DA4-BD39-E5C8CF10AA23}" destId="{8B49E804-9B23-4BD4-950A-4CDD8AABAECE}" srcOrd="1" destOrd="0" presId="urn:microsoft.com/office/officeart/2005/8/layout/hProcess4"/>
    <dgm:cxn modelId="{FDA74B7C-DE7F-44E8-BC2F-A1B1747E8635}" srcId="{B4308C6E-A74B-4467-A2FC-B4EF361FDDB8}" destId="{1780D938-FA21-49D5-9834-4D7E9FD94742}" srcOrd="1" destOrd="0" parTransId="{4EECA922-B52B-492E-AF53-B3FC12866F09}" sibTransId="{DBC1CD95-C6F1-4315-BFAC-0B1BA0D298FB}"/>
    <dgm:cxn modelId="{187BBA7F-BE4F-4866-BCFF-D808BF4ABB32}" type="presOf" srcId="{1780D938-FA21-49D5-9834-4D7E9FD94742}" destId="{7F11CB49-F138-48D7-B497-F7F6080E0E6E}" srcOrd="0" destOrd="1" presId="urn:microsoft.com/office/officeart/2005/8/layout/hProcess4"/>
    <dgm:cxn modelId="{99EF0282-D85D-4F32-97BA-B34A84A1B20F}" srcId="{AD319810-9110-4133-8EB9-EE0B5D266486}" destId="{0B94B9FC-EFA2-4F8D-A5CB-1388D9EB2DEB}" srcOrd="1" destOrd="0" parTransId="{2518E87F-7F4E-4A80-824B-0104E160AEF7}" sibTransId="{BBFBD951-7839-4717-AFF2-CF0ECB2CEA07}"/>
    <dgm:cxn modelId="{2C4EE582-B17A-4E00-B514-3AC223E2BA5E}" type="presOf" srcId="{1299D218-6BDB-4465-882B-F95368AB683C}" destId="{21DB7543-C162-4207-9203-36FDBE484845}" srcOrd="1" destOrd="4" presId="urn:microsoft.com/office/officeart/2005/8/layout/hProcess4"/>
    <dgm:cxn modelId="{493F0784-F2A2-44C8-BCCA-082B4ED78E98}" type="presOf" srcId="{B4308C6E-A74B-4467-A2FC-B4EF361FDDB8}" destId="{B4B6677B-A310-48CE-9207-B6F0ADF08C20}" srcOrd="0" destOrd="0" presId="urn:microsoft.com/office/officeart/2005/8/layout/hProcess4"/>
    <dgm:cxn modelId="{32F48692-E536-491E-94BD-493EFB6E7CCC}" srcId="{AD319810-9110-4133-8EB9-EE0B5D266486}" destId="{9095B3C0-DA41-4913-858D-19B41AA6B0FC}" srcOrd="2" destOrd="0" parTransId="{3A3B63D3-A2EE-48A1-9229-3870CFC99F5E}" sibTransId="{6235382B-7A78-4823-BA07-2C2E608BC5D4}"/>
    <dgm:cxn modelId="{7EB5AAA5-B7AC-4B02-9319-DF02D354571E}" type="presOf" srcId="{9095B3C0-DA41-4913-858D-19B41AA6B0FC}" destId="{644B283A-9E48-45BF-AE01-B9EB53E80428}" srcOrd="0" destOrd="2" presId="urn:microsoft.com/office/officeart/2005/8/layout/hProcess4"/>
    <dgm:cxn modelId="{6EBDCAA9-AED3-4955-A1F1-6AA4D73DDADA}" type="presOf" srcId="{0B94B9FC-EFA2-4F8D-A5CB-1388D9EB2DEB}" destId="{8B49E804-9B23-4BD4-950A-4CDD8AABAECE}" srcOrd="1" destOrd="1" presId="urn:microsoft.com/office/officeart/2005/8/layout/hProcess4"/>
    <dgm:cxn modelId="{DF22A2AA-EB9B-478E-A33D-C743E71E16BC}" type="presOf" srcId="{C937679F-3FCA-4B63-9D0F-C15F0A3DC5AF}" destId="{7F11CB49-F138-48D7-B497-F7F6080E0E6E}" srcOrd="0" destOrd="3" presId="urn:microsoft.com/office/officeart/2005/8/layout/hProcess4"/>
    <dgm:cxn modelId="{06C9F2AA-DD8B-40A9-8A90-3843538A079C}" type="presOf" srcId="{9095B3C0-DA41-4913-858D-19B41AA6B0FC}" destId="{8B49E804-9B23-4BD4-950A-4CDD8AABAECE}" srcOrd="1" destOrd="2" presId="urn:microsoft.com/office/officeart/2005/8/layout/hProcess4"/>
    <dgm:cxn modelId="{EA95ADAF-C8A4-4E91-9C9E-51F30EA0A9E7}" type="presOf" srcId="{C937679F-3FCA-4B63-9D0F-C15F0A3DC5AF}" destId="{21DB7543-C162-4207-9203-36FDBE484845}" srcOrd="1" destOrd="3" presId="urn:microsoft.com/office/officeart/2005/8/layout/hProcess4"/>
    <dgm:cxn modelId="{F425FBC8-634D-4C6A-97D4-019486567F03}" srcId="{AD319810-9110-4133-8EB9-EE0B5D266486}" destId="{E0A413D8-69F7-4DA4-BD39-E5C8CF10AA23}" srcOrd="0" destOrd="0" parTransId="{E434710B-A1D9-4BCE-B6C6-1DD2DE3424A8}" sibTransId="{975D2A3B-4A47-4B43-893A-274A7A524509}"/>
    <dgm:cxn modelId="{2B1F3DD7-2A8C-42C1-BC83-BD0ED379E34D}" srcId="{1780D938-FA21-49D5-9834-4D7E9FD94742}" destId="{96507DA6-ABD1-4278-903A-01DE37A16581}" srcOrd="3" destOrd="0" parTransId="{7D7561DA-75F1-4759-AC3C-75CBE1867FF3}" sibTransId="{00AD5BB2-055C-41B0-AE0A-31729FC10D8A}"/>
    <dgm:cxn modelId="{87B6C6E1-E177-4F5B-BA36-B65C694D8936}" type="presOf" srcId="{96507DA6-ABD1-4278-903A-01DE37A16581}" destId="{7F11CB49-F138-48D7-B497-F7F6080E0E6E}" srcOrd="0" destOrd="5" presId="urn:microsoft.com/office/officeart/2005/8/layout/hProcess4"/>
    <dgm:cxn modelId="{BAF66EE4-816A-40CC-99C1-3478C4B4424B}" srcId="{1780D938-FA21-49D5-9834-4D7E9FD94742}" destId="{C937679F-3FCA-4B63-9D0F-C15F0A3DC5AF}" srcOrd="1" destOrd="0" parTransId="{2F12C679-C415-4D2E-A65C-20569DAEE965}" sibTransId="{D771B9B6-E110-4B3A-B4B6-85F6339688C7}"/>
    <dgm:cxn modelId="{7EC355E5-D217-402A-9E9B-0A0E344E23DC}" type="presOf" srcId="{E0A413D8-69F7-4DA4-BD39-E5C8CF10AA23}" destId="{644B283A-9E48-45BF-AE01-B9EB53E80428}" srcOrd="0" destOrd="0" presId="urn:microsoft.com/office/officeart/2005/8/layout/hProcess4"/>
    <dgm:cxn modelId="{279A1CF9-963F-4F6F-B506-F3E648FE65EA}" srcId="{1780D938-FA21-49D5-9834-4D7E9FD94742}" destId="{1299D218-6BDB-4465-882B-F95368AB683C}" srcOrd="2" destOrd="0" parTransId="{87D53979-C2B1-40C8-BDF2-AE2CF27DECEC}" sibTransId="{32AF72D2-9069-44DC-B70E-02E4C54EB773}"/>
    <dgm:cxn modelId="{D014C2F9-2EB7-4BAA-A684-BBF71530967D}" srcId="{B4308C6E-A74B-4467-A2FC-B4EF361FDDB8}" destId="{6AB366E4-5DB8-4943-BB23-08172DC324B5}" srcOrd="0" destOrd="0" parTransId="{3FAE1103-FC79-420E-B9D1-4D8C6A406C05}" sibTransId="{6E294094-0E7E-467A-A57F-474CCDD052B8}"/>
    <dgm:cxn modelId="{373582FE-1318-4CD1-9F87-04A33559A036}" srcId="{C986DE4D-D5BB-4A2D-8DF9-25BA542FDF1B}" destId="{B4308C6E-A74B-4467-A2FC-B4EF361FDDB8}" srcOrd="1" destOrd="0" parTransId="{F14E88F1-2EDC-4167-B1E1-14F198FF7EC2}" sibTransId="{2B4F9613-8A4C-4FFD-B3A4-E90BA42BA9EF}"/>
    <dgm:cxn modelId="{255DC4FE-D3E9-4C25-8BC9-0A2173C3AF1B}" type="presOf" srcId="{0B94B9FC-EFA2-4F8D-A5CB-1388D9EB2DEB}" destId="{644B283A-9E48-45BF-AE01-B9EB53E80428}" srcOrd="0" destOrd="1" presId="urn:microsoft.com/office/officeart/2005/8/layout/hProcess4"/>
    <dgm:cxn modelId="{1277E76A-32E0-4093-AB9C-817DA927C29D}" type="presParOf" srcId="{0475246C-6236-45AA-8924-9D288CA2FD9C}" destId="{195547B2-B703-4203-9507-A70D676CB252}" srcOrd="0" destOrd="0" presId="urn:microsoft.com/office/officeart/2005/8/layout/hProcess4"/>
    <dgm:cxn modelId="{81871B2A-D7A5-4899-AA72-4A4AD90B1B34}" type="presParOf" srcId="{0475246C-6236-45AA-8924-9D288CA2FD9C}" destId="{2F3BF341-CEDC-4580-A3C0-D11CD33C195F}" srcOrd="1" destOrd="0" presId="urn:microsoft.com/office/officeart/2005/8/layout/hProcess4"/>
    <dgm:cxn modelId="{E2D04915-90BA-4FB5-87B5-E2423D1B05BB}" type="presParOf" srcId="{0475246C-6236-45AA-8924-9D288CA2FD9C}" destId="{55E55D79-D251-4488-A2A4-2D99FFA9C21C}" srcOrd="2" destOrd="0" presId="urn:microsoft.com/office/officeart/2005/8/layout/hProcess4"/>
    <dgm:cxn modelId="{BC5ADE76-AC30-4019-9B80-6B8D908468D0}" type="presParOf" srcId="{55E55D79-D251-4488-A2A4-2D99FFA9C21C}" destId="{AFD700F2-AF90-44C0-9D11-B131120E2E7E}" srcOrd="0" destOrd="0" presId="urn:microsoft.com/office/officeart/2005/8/layout/hProcess4"/>
    <dgm:cxn modelId="{EBF55F9D-DBF7-42A0-BB3B-946A35177D58}" type="presParOf" srcId="{AFD700F2-AF90-44C0-9D11-B131120E2E7E}" destId="{6C8927B0-9B71-4888-99EC-E7C077F5AA60}" srcOrd="0" destOrd="0" presId="urn:microsoft.com/office/officeart/2005/8/layout/hProcess4"/>
    <dgm:cxn modelId="{928CF52D-C023-4487-9BE1-D942FEC06643}" type="presParOf" srcId="{AFD700F2-AF90-44C0-9D11-B131120E2E7E}" destId="{644B283A-9E48-45BF-AE01-B9EB53E80428}" srcOrd="1" destOrd="0" presId="urn:microsoft.com/office/officeart/2005/8/layout/hProcess4"/>
    <dgm:cxn modelId="{F8DCF8E3-31F1-40E8-907D-13D4A0C1C659}" type="presParOf" srcId="{AFD700F2-AF90-44C0-9D11-B131120E2E7E}" destId="{8B49E804-9B23-4BD4-950A-4CDD8AABAECE}" srcOrd="2" destOrd="0" presId="urn:microsoft.com/office/officeart/2005/8/layout/hProcess4"/>
    <dgm:cxn modelId="{973198FB-775B-4D35-87A7-47C877954E24}" type="presParOf" srcId="{AFD700F2-AF90-44C0-9D11-B131120E2E7E}" destId="{A5248725-B18F-4FA2-B882-8A941A3F09A8}" srcOrd="3" destOrd="0" presId="urn:microsoft.com/office/officeart/2005/8/layout/hProcess4"/>
    <dgm:cxn modelId="{F43507C2-C52A-4827-A95D-D4969164CC48}" type="presParOf" srcId="{AFD700F2-AF90-44C0-9D11-B131120E2E7E}" destId="{4E7775B3-22BE-42BC-BFB1-157A97CF6255}" srcOrd="4" destOrd="0" presId="urn:microsoft.com/office/officeart/2005/8/layout/hProcess4"/>
    <dgm:cxn modelId="{71A2CAF0-5758-4EEF-8493-76AFABF9F935}" type="presParOf" srcId="{55E55D79-D251-4488-A2A4-2D99FFA9C21C}" destId="{29B95550-F5DF-4EF2-A56B-DC55E501AABD}" srcOrd="1" destOrd="0" presId="urn:microsoft.com/office/officeart/2005/8/layout/hProcess4"/>
    <dgm:cxn modelId="{1D247078-11C3-4138-983C-34756AA35B0E}" type="presParOf" srcId="{55E55D79-D251-4488-A2A4-2D99FFA9C21C}" destId="{E101172D-7332-45A4-AC19-26C706FAD743}" srcOrd="2" destOrd="0" presId="urn:microsoft.com/office/officeart/2005/8/layout/hProcess4"/>
    <dgm:cxn modelId="{8273D0C0-7BF7-4B16-AD81-A88F166EB0E1}" type="presParOf" srcId="{E101172D-7332-45A4-AC19-26C706FAD743}" destId="{FFE89B72-C3CC-4FE5-858A-0F6D406023A0}" srcOrd="0" destOrd="0" presId="urn:microsoft.com/office/officeart/2005/8/layout/hProcess4"/>
    <dgm:cxn modelId="{A17639D3-0A82-4D0B-A44D-DD8E686BDA52}" type="presParOf" srcId="{E101172D-7332-45A4-AC19-26C706FAD743}" destId="{7F11CB49-F138-48D7-B497-F7F6080E0E6E}" srcOrd="1" destOrd="0" presId="urn:microsoft.com/office/officeart/2005/8/layout/hProcess4"/>
    <dgm:cxn modelId="{CC735121-BAEA-4319-B06B-9F6001AE78D7}" type="presParOf" srcId="{E101172D-7332-45A4-AC19-26C706FAD743}" destId="{21DB7543-C162-4207-9203-36FDBE484845}" srcOrd="2" destOrd="0" presId="urn:microsoft.com/office/officeart/2005/8/layout/hProcess4"/>
    <dgm:cxn modelId="{349B81C5-F969-4ABA-81E8-259918820E39}" type="presParOf" srcId="{E101172D-7332-45A4-AC19-26C706FAD743}" destId="{B4B6677B-A310-48CE-9207-B6F0ADF08C20}" srcOrd="3" destOrd="0" presId="urn:microsoft.com/office/officeart/2005/8/layout/hProcess4"/>
    <dgm:cxn modelId="{8BF83924-EF75-4A2A-85A3-592DD27C37BD}" type="presParOf" srcId="{E101172D-7332-45A4-AC19-26C706FAD743}" destId="{EBAC3329-D6B7-43EA-AF24-90FA0138408D}"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CAF97A-30DB-4335-BC08-ED05D12D513F}" type="doc">
      <dgm:prSet loTypeId="urn:microsoft.com/office/officeart/2005/8/layout/bList2" loCatId="list" qsTypeId="urn:microsoft.com/office/officeart/2005/8/quickstyle/simple1" qsCatId="simple" csTypeId="urn:microsoft.com/office/officeart/2005/8/colors/accent0_3" csCatId="mainScheme" phldr="1"/>
      <dgm:spPr/>
    </dgm:pt>
    <dgm:pt modelId="{E984CA14-EA12-4FBE-92F9-1BB785CB7A22}">
      <dgm:prSet phldrT="[Text]"/>
      <dgm:spPr/>
      <dgm:t>
        <a:bodyPr/>
        <a:lstStyle/>
        <a:p>
          <a:r>
            <a:rPr lang="en-US" dirty="0" err="1"/>
            <a:t>Konfirmasi</a:t>
          </a:r>
          <a:r>
            <a:rPr lang="en-US" dirty="0"/>
            <a:t> </a:t>
          </a:r>
          <a:r>
            <a:rPr lang="en-US" dirty="0" err="1"/>
            <a:t>perencanaan</a:t>
          </a:r>
          <a:r>
            <a:rPr lang="en-US" dirty="0"/>
            <a:t> </a:t>
          </a:r>
          <a:r>
            <a:rPr lang="en-US" dirty="0" err="1"/>
            <a:t>teknis</a:t>
          </a:r>
          <a:r>
            <a:rPr lang="en-US" dirty="0"/>
            <a:t> CA</a:t>
          </a:r>
          <a:endParaRPr lang="en-AU" dirty="0"/>
        </a:p>
      </dgm:t>
    </dgm:pt>
    <dgm:pt modelId="{B81AA8CC-041F-4F11-8A8B-6EF3625E062A}" type="parTrans" cxnId="{4F48C857-415F-4ED1-A3AF-D76AEBABFCA4}">
      <dgm:prSet/>
      <dgm:spPr/>
      <dgm:t>
        <a:bodyPr/>
        <a:lstStyle/>
        <a:p>
          <a:endParaRPr lang="en-AU"/>
        </a:p>
      </dgm:t>
    </dgm:pt>
    <dgm:pt modelId="{7EF2031F-68C7-4D51-B809-B19F2022AFD1}" type="sibTrans" cxnId="{4F48C857-415F-4ED1-A3AF-D76AEBABFCA4}">
      <dgm:prSet/>
      <dgm:spPr/>
      <dgm:t>
        <a:bodyPr/>
        <a:lstStyle/>
        <a:p>
          <a:endParaRPr lang="en-AU"/>
        </a:p>
      </dgm:t>
    </dgm:pt>
    <dgm:pt modelId="{69FD9CF8-2B03-4779-8E66-A3C232884E12}">
      <dgm:prSet phldrT="[Text]"/>
      <dgm:spPr/>
      <dgm:t>
        <a:bodyPr/>
        <a:lstStyle/>
        <a:p>
          <a:r>
            <a:rPr lang="en-US" dirty="0" err="1"/>
            <a:t>Kesepakatan</a:t>
          </a:r>
          <a:r>
            <a:rPr lang="en-US" dirty="0"/>
            <a:t> dg </a:t>
          </a:r>
          <a:r>
            <a:rPr lang="en-US" dirty="0" err="1"/>
            <a:t>klien</a:t>
          </a:r>
          <a:endParaRPr lang="en-AU" dirty="0"/>
        </a:p>
      </dgm:t>
    </dgm:pt>
    <dgm:pt modelId="{A4481814-EADC-4AE4-AEA7-EC2B10F24604}" type="parTrans" cxnId="{EDFF293A-21DB-4F91-8AFA-232C0F9BA3DC}">
      <dgm:prSet/>
      <dgm:spPr/>
      <dgm:t>
        <a:bodyPr/>
        <a:lstStyle/>
        <a:p>
          <a:endParaRPr lang="en-AU"/>
        </a:p>
      </dgm:t>
    </dgm:pt>
    <dgm:pt modelId="{41FDF967-A1D1-4C19-B3EA-610BC0B2BD6A}" type="sibTrans" cxnId="{EDFF293A-21DB-4F91-8AFA-232C0F9BA3DC}">
      <dgm:prSet/>
      <dgm:spPr/>
      <dgm:t>
        <a:bodyPr/>
        <a:lstStyle/>
        <a:p>
          <a:endParaRPr lang="en-AU"/>
        </a:p>
      </dgm:t>
    </dgm:pt>
    <dgm:pt modelId="{CC5E86AA-C936-4028-8CFD-EF954F7BDF77}">
      <dgm:prSet phldrT="[Text]" custT="1"/>
      <dgm:spPr/>
      <dgm:t>
        <a:bodyPr/>
        <a:lstStyle/>
        <a:p>
          <a:r>
            <a:rPr lang="en-US" sz="2800" dirty="0" err="1"/>
            <a:t>Pemahaman</a:t>
          </a:r>
          <a:r>
            <a:rPr lang="en-US" sz="2800" dirty="0"/>
            <a:t> proses </a:t>
          </a:r>
          <a:r>
            <a:rPr lang="en-US" sz="2800" dirty="0" err="1"/>
            <a:t>bisnis</a:t>
          </a:r>
          <a:endParaRPr lang="en-AU" sz="2800" dirty="0"/>
        </a:p>
      </dgm:t>
    </dgm:pt>
    <dgm:pt modelId="{9DD00CFD-3FD6-447F-903C-8126F8A5501A}" type="parTrans" cxnId="{D96B8942-BC1F-4CC0-8532-3439A62CD253}">
      <dgm:prSet/>
      <dgm:spPr/>
      <dgm:t>
        <a:bodyPr/>
        <a:lstStyle/>
        <a:p>
          <a:endParaRPr lang="en-AU"/>
        </a:p>
      </dgm:t>
    </dgm:pt>
    <dgm:pt modelId="{75A47CE1-1B0D-44F4-8D1A-269414C61B44}" type="sibTrans" cxnId="{D96B8942-BC1F-4CC0-8532-3439A62CD253}">
      <dgm:prSet/>
      <dgm:spPr/>
      <dgm:t>
        <a:bodyPr/>
        <a:lstStyle/>
        <a:p>
          <a:endParaRPr lang="en-AU"/>
        </a:p>
      </dgm:t>
    </dgm:pt>
    <dgm:pt modelId="{7CB5FE46-8932-4C75-ADDA-C70ADDC0A9AF}">
      <dgm:prSet phldrT="[Text]" custT="1"/>
      <dgm:spPr/>
      <dgm:t>
        <a:bodyPr/>
        <a:lstStyle/>
        <a:p>
          <a:r>
            <a:rPr lang="en-US" sz="2800" dirty="0"/>
            <a:t>Data dan </a:t>
          </a:r>
          <a:r>
            <a:rPr lang="en-US" sz="2800" dirty="0" err="1"/>
            <a:t>alur</a:t>
          </a:r>
          <a:r>
            <a:rPr lang="en-US" sz="2800" dirty="0"/>
            <a:t> data</a:t>
          </a:r>
          <a:endParaRPr lang="en-AU" sz="2800" dirty="0"/>
        </a:p>
      </dgm:t>
    </dgm:pt>
    <dgm:pt modelId="{9A9650E4-9BB4-493B-8B7B-1F140A9DA294}" type="parTrans" cxnId="{B5D43586-9415-4FC4-A03A-5C2EBA461791}">
      <dgm:prSet/>
      <dgm:spPr/>
      <dgm:t>
        <a:bodyPr/>
        <a:lstStyle/>
        <a:p>
          <a:endParaRPr lang="en-AU"/>
        </a:p>
      </dgm:t>
    </dgm:pt>
    <dgm:pt modelId="{B23F3CFC-07C2-49BE-952E-DEA9023C1397}" type="sibTrans" cxnId="{B5D43586-9415-4FC4-A03A-5C2EBA461791}">
      <dgm:prSet/>
      <dgm:spPr/>
      <dgm:t>
        <a:bodyPr/>
        <a:lstStyle/>
        <a:p>
          <a:endParaRPr lang="en-AU"/>
        </a:p>
      </dgm:t>
    </dgm:pt>
    <dgm:pt modelId="{5E60FA0D-CFE4-41F8-8C29-896D6B3469AC}">
      <dgm:prSet phldrT="[Text]" custT="1"/>
      <dgm:spPr/>
      <dgm:t>
        <a:bodyPr/>
        <a:lstStyle/>
        <a:p>
          <a:r>
            <a:rPr lang="en-US" sz="2800" dirty="0"/>
            <a:t>Script </a:t>
          </a:r>
          <a:r>
            <a:rPr lang="en-US" sz="2800" dirty="0" err="1"/>
            <a:t>pengujian</a:t>
          </a:r>
          <a:endParaRPr lang="en-AU" sz="2800" dirty="0"/>
        </a:p>
      </dgm:t>
    </dgm:pt>
    <dgm:pt modelId="{7A1EC341-E96F-4D48-ADE6-8BAF46A223EC}" type="parTrans" cxnId="{EC7DCC64-9629-4DDB-BFCC-CA250A5880CF}">
      <dgm:prSet/>
      <dgm:spPr/>
      <dgm:t>
        <a:bodyPr/>
        <a:lstStyle/>
        <a:p>
          <a:endParaRPr lang="en-AU"/>
        </a:p>
      </dgm:t>
    </dgm:pt>
    <dgm:pt modelId="{B4B50501-70AE-42E4-982F-2C0E505FAE00}" type="sibTrans" cxnId="{EC7DCC64-9629-4DDB-BFCC-CA250A5880CF}">
      <dgm:prSet/>
      <dgm:spPr/>
      <dgm:t>
        <a:bodyPr/>
        <a:lstStyle/>
        <a:p>
          <a:endParaRPr lang="en-AU"/>
        </a:p>
      </dgm:t>
    </dgm:pt>
    <dgm:pt modelId="{DFCAD738-4AC6-4F52-AD60-18F1EE428AA7}">
      <dgm:prSet phldrT="[Text]" custT="1"/>
      <dgm:spPr/>
      <dgm:t>
        <a:bodyPr/>
        <a:lstStyle/>
        <a:p>
          <a:r>
            <a:rPr lang="en-US" sz="2400" dirty="0" err="1"/>
            <a:t>Pemahaman</a:t>
          </a:r>
          <a:r>
            <a:rPr lang="en-US" sz="2400" dirty="0"/>
            <a:t> </a:t>
          </a:r>
          <a:r>
            <a:rPr lang="en-US" sz="2400" dirty="0" err="1"/>
            <a:t>hak</a:t>
          </a:r>
          <a:r>
            <a:rPr lang="en-US" sz="2400" dirty="0"/>
            <a:t> dan </a:t>
          </a:r>
          <a:r>
            <a:rPr lang="en-US" sz="2400" dirty="0" err="1"/>
            <a:t>kewajiban</a:t>
          </a:r>
          <a:r>
            <a:rPr lang="en-US" sz="2400" dirty="0"/>
            <a:t> </a:t>
          </a:r>
          <a:r>
            <a:rPr lang="en-US" sz="2400" dirty="0" err="1"/>
            <a:t>serta</a:t>
          </a:r>
          <a:r>
            <a:rPr lang="en-US" sz="2400" dirty="0"/>
            <a:t> timbal </a:t>
          </a:r>
          <a:r>
            <a:rPr lang="en-US" sz="2400" dirty="0" err="1"/>
            <a:t>balik</a:t>
          </a:r>
          <a:endParaRPr lang="en-AU" sz="2400" dirty="0"/>
        </a:p>
      </dgm:t>
    </dgm:pt>
    <dgm:pt modelId="{43C4D739-EEE8-4751-BA0F-A15F6B158CB0}" type="parTrans" cxnId="{D79222F0-9152-40BC-9CDC-FCF99B702085}">
      <dgm:prSet/>
      <dgm:spPr/>
      <dgm:t>
        <a:bodyPr/>
        <a:lstStyle/>
        <a:p>
          <a:endParaRPr lang="en-AU"/>
        </a:p>
      </dgm:t>
    </dgm:pt>
    <dgm:pt modelId="{47EF511C-FDC0-4BE0-AE87-3C388CC5FD4A}" type="sibTrans" cxnId="{D79222F0-9152-40BC-9CDC-FCF99B702085}">
      <dgm:prSet/>
      <dgm:spPr/>
      <dgm:t>
        <a:bodyPr/>
        <a:lstStyle/>
        <a:p>
          <a:endParaRPr lang="en-AU"/>
        </a:p>
      </dgm:t>
    </dgm:pt>
    <dgm:pt modelId="{AB93974C-746E-47D9-AA93-29F05A42745A}">
      <dgm:prSet phldrT="[Text]" custT="1"/>
      <dgm:spPr/>
      <dgm:t>
        <a:bodyPr/>
        <a:lstStyle/>
        <a:p>
          <a:r>
            <a:rPr lang="en-US" sz="2400" dirty="0" err="1"/>
            <a:t>Mekanisme</a:t>
          </a:r>
          <a:r>
            <a:rPr lang="en-US" sz="2400" dirty="0"/>
            <a:t> dan </a:t>
          </a:r>
          <a:r>
            <a:rPr lang="en-US" sz="2400" dirty="0" err="1"/>
            <a:t>jadwal</a:t>
          </a:r>
          <a:r>
            <a:rPr lang="en-US" sz="2400" dirty="0"/>
            <a:t> </a:t>
          </a:r>
          <a:r>
            <a:rPr lang="en-US" sz="2400" dirty="0" err="1"/>
            <a:t>pengaliran</a:t>
          </a:r>
          <a:r>
            <a:rPr lang="en-US" sz="2400" dirty="0"/>
            <a:t> data</a:t>
          </a:r>
          <a:endParaRPr lang="en-AU" sz="2400" dirty="0"/>
        </a:p>
      </dgm:t>
    </dgm:pt>
    <dgm:pt modelId="{D25AEDAA-CDA3-40B1-AA8D-9FCA63C09076}" type="parTrans" cxnId="{1E7B8784-AB22-43D9-8991-A3E8FE1EE075}">
      <dgm:prSet/>
      <dgm:spPr/>
      <dgm:t>
        <a:bodyPr/>
        <a:lstStyle/>
        <a:p>
          <a:endParaRPr lang="en-AU"/>
        </a:p>
      </dgm:t>
    </dgm:pt>
    <dgm:pt modelId="{2DC309D0-58A5-44F3-AFA0-92A2B6D6D53F}" type="sibTrans" cxnId="{1E7B8784-AB22-43D9-8991-A3E8FE1EE075}">
      <dgm:prSet/>
      <dgm:spPr/>
      <dgm:t>
        <a:bodyPr/>
        <a:lstStyle/>
        <a:p>
          <a:endParaRPr lang="en-AU"/>
        </a:p>
      </dgm:t>
    </dgm:pt>
    <dgm:pt modelId="{C7DB17D6-86D6-46A4-AD39-30B3527CDFAC}">
      <dgm:prSet phldrT="[Text]" custT="1"/>
      <dgm:spPr/>
      <dgm:t>
        <a:bodyPr/>
        <a:lstStyle/>
        <a:p>
          <a:r>
            <a:rPr lang="en-US" sz="2400" dirty="0" err="1"/>
            <a:t>Jaminan</a:t>
          </a:r>
          <a:r>
            <a:rPr lang="en-US" sz="2400" dirty="0"/>
            <a:t> </a:t>
          </a:r>
          <a:r>
            <a:rPr lang="en-US" sz="2400" dirty="0" err="1"/>
            <a:t>keamanan</a:t>
          </a:r>
          <a:r>
            <a:rPr lang="en-US" sz="2400" dirty="0"/>
            <a:t> dan </a:t>
          </a:r>
          <a:r>
            <a:rPr lang="en-US" sz="2400" dirty="0" err="1"/>
            <a:t>kerahasiaan</a:t>
          </a:r>
          <a:r>
            <a:rPr lang="en-US" sz="2400" dirty="0"/>
            <a:t> data </a:t>
          </a:r>
          <a:r>
            <a:rPr lang="en-US" sz="2400" dirty="0" err="1"/>
            <a:t>sensitif</a:t>
          </a:r>
          <a:endParaRPr lang="en-AU" sz="2400" dirty="0"/>
        </a:p>
      </dgm:t>
    </dgm:pt>
    <dgm:pt modelId="{3AEE05BB-FCB3-482C-9991-0DA4AD71700A}" type="parTrans" cxnId="{B4AF4C7F-D63C-47A7-A1AC-1178E3603AED}">
      <dgm:prSet/>
      <dgm:spPr/>
      <dgm:t>
        <a:bodyPr/>
        <a:lstStyle/>
        <a:p>
          <a:endParaRPr lang="en-AU"/>
        </a:p>
      </dgm:t>
    </dgm:pt>
    <dgm:pt modelId="{6C432F82-53A3-4034-9FDD-BFEA58415795}" type="sibTrans" cxnId="{B4AF4C7F-D63C-47A7-A1AC-1178E3603AED}">
      <dgm:prSet/>
      <dgm:spPr/>
      <dgm:t>
        <a:bodyPr/>
        <a:lstStyle/>
        <a:p>
          <a:endParaRPr lang="en-AU"/>
        </a:p>
      </dgm:t>
    </dgm:pt>
    <dgm:pt modelId="{47593E9C-2092-440A-AB1B-A2C0772A77F2}">
      <dgm:prSet phldrT="[Text]" custT="1"/>
      <dgm:spPr/>
      <dgm:t>
        <a:bodyPr/>
        <a:lstStyle/>
        <a:p>
          <a:r>
            <a:rPr lang="en-US" sz="2400" dirty="0" err="1"/>
            <a:t>Mekanisme</a:t>
          </a:r>
          <a:r>
            <a:rPr lang="en-US" sz="2400" dirty="0"/>
            <a:t> </a:t>
          </a:r>
          <a:r>
            <a:rPr lang="en-US" sz="2400" dirty="0" err="1"/>
            <a:t>konfirmasi</a:t>
          </a:r>
          <a:r>
            <a:rPr lang="en-US" sz="2400" dirty="0"/>
            <a:t> </a:t>
          </a:r>
          <a:r>
            <a:rPr lang="en-US" sz="2400" dirty="0" err="1"/>
            <a:t>anomali</a:t>
          </a:r>
          <a:r>
            <a:rPr lang="en-US" sz="2400" dirty="0"/>
            <a:t> dan </a:t>
          </a:r>
          <a:r>
            <a:rPr lang="en-US" sz="2400" dirty="0" err="1"/>
            <a:t>periode</a:t>
          </a:r>
          <a:r>
            <a:rPr lang="en-US" sz="2400" dirty="0"/>
            <a:t> </a:t>
          </a:r>
          <a:r>
            <a:rPr lang="en-US" sz="2400" dirty="0" err="1"/>
            <a:t>pelaporan</a:t>
          </a:r>
          <a:r>
            <a:rPr lang="en-US" sz="2400" dirty="0"/>
            <a:t> </a:t>
          </a:r>
          <a:r>
            <a:rPr lang="en-US" sz="2400" dirty="0" err="1"/>
            <a:t>hasil</a:t>
          </a:r>
          <a:r>
            <a:rPr lang="en-US" sz="2400" dirty="0"/>
            <a:t> CA</a:t>
          </a:r>
          <a:endParaRPr lang="en-AU" sz="2400" dirty="0"/>
        </a:p>
      </dgm:t>
    </dgm:pt>
    <dgm:pt modelId="{DF63464E-0B38-47FB-A38B-48C4BA07B090}" type="parTrans" cxnId="{F2C7280D-F71E-42D3-B20F-DEEE10CB68B2}">
      <dgm:prSet/>
      <dgm:spPr/>
      <dgm:t>
        <a:bodyPr/>
        <a:lstStyle/>
        <a:p>
          <a:endParaRPr lang="en-AU"/>
        </a:p>
      </dgm:t>
    </dgm:pt>
    <dgm:pt modelId="{FF70811C-C08C-42C3-A27E-8ACEBA84D1D5}" type="sibTrans" cxnId="{F2C7280D-F71E-42D3-B20F-DEEE10CB68B2}">
      <dgm:prSet/>
      <dgm:spPr/>
      <dgm:t>
        <a:bodyPr/>
        <a:lstStyle/>
        <a:p>
          <a:endParaRPr lang="en-AU"/>
        </a:p>
      </dgm:t>
    </dgm:pt>
    <dgm:pt modelId="{225FB573-4C1E-4756-8942-5699988CA033}">
      <dgm:prSet phldrT="[Text]" custT="1"/>
      <dgm:spPr/>
      <dgm:t>
        <a:bodyPr/>
        <a:lstStyle/>
        <a:p>
          <a:r>
            <a:rPr lang="en-US" sz="2800" dirty="0" err="1"/>
            <a:t>Persamaan</a:t>
          </a:r>
          <a:r>
            <a:rPr lang="en-US" sz="2800" dirty="0"/>
            <a:t> </a:t>
          </a:r>
          <a:r>
            <a:rPr lang="en-US" sz="2800" dirty="0" err="1"/>
            <a:t>Persepsi</a:t>
          </a:r>
          <a:r>
            <a:rPr lang="en-US" sz="2800" dirty="0"/>
            <a:t> </a:t>
          </a:r>
          <a:r>
            <a:rPr lang="en-US" sz="2800" dirty="0" err="1"/>
            <a:t>atas</a:t>
          </a:r>
          <a:r>
            <a:rPr lang="en-US" sz="2800" dirty="0"/>
            <a:t>:</a:t>
          </a:r>
          <a:endParaRPr lang="en-AU" sz="2800" dirty="0"/>
        </a:p>
      </dgm:t>
    </dgm:pt>
    <dgm:pt modelId="{E802F672-485B-4095-9C43-50E8FA4D5BA7}" type="parTrans" cxnId="{50C3705D-0212-462A-ABFB-A7620B3099C1}">
      <dgm:prSet/>
      <dgm:spPr/>
      <dgm:t>
        <a:bodyPr/>
        <a:lstStyle/>
        <a:p>
          <a:endParaRPr lang="en-AU"/>
        </a:p>
      </dgm:t>
    </dgm:pt>
    <dgm:pt modelId="{429C7000-FC12-4695-92EC-93B8C37E3D53}" type="sibTrans" cxnId="{50C3705D-0212-462A-ABFB-A7620B3099C1}">
      <dgm:prSet/>
      <dgm:spPr/>
      <dgm:t>
        <a:bodyPr/>
        <a:lstStyle/>
        <a:p>
          <a:endParaRPr lang="en-AU"/>
        </a:p>
      </dgm:t>
    </dgm:pt>
    <dgm:pt modelId="{61B575D9-72C7-479B-B959-78FF5D987B82}" type="pres">
      <dgm:prSet presAssocID="{02CAF97A-30DB-4335-BC08-ED05D12D513F}" presName="diagram" presStyleCnt="0">
        <dgm:presLayoutVars>
          <dgm:dir/>
          <dgm:animLvl val="lvl"/>
          <dgm:resizeHandles val="exact"/>
        </dgm:presLayoutVars>
      </dgm:prSet>
      <dgm:spPr/>
    </dgm:pt>
    <dgm:pt modelId="{7B6D9EC9-C90A-4007-8D7B-C810EDC51A33}" type="pres">
      <dgm:prSet presAssocID="{E984CA14-EA12-4FBE-92F9-1BB785CB7A22}" presName="compNode" presStyleCnt="0"/>
      <dgm:spPr/>
    </dgm:pt>
    <dgm:pt modelId="{4AAE9C58-F153-48E3-A8A7-C9431EE4EC7A}" type="pres">
      <dgm:prSet presAssocID="{E984CA14-EA12-4FBE-92F9-1BB785CB7A22}" presName="childRect" presStyleLbl="bgAcc1" presStyleIdx="0" presStyleCnt="2">
        <dgm:presLayoutVars>
          <dgm:bulletEnabled val="1"/>
        </dgm:presLayoutVars>
      </dgm:prSet>
      <dgm:spPr/>
    </dgm:pt>
    <dgm:pt modelId="{81E81FB9-CD0D-4E80-8DE1-F823EF4BD2C9}" type="pres">
      <dgm:prSet presAssocID="{E984CA14-EA12-4FBE-92F9-1BB785CB7A22}" presName="parentText" presStyleLbl="node1" presStyleIdx="0" presStyleCnt="0">
        <dgm:presLayoutVars>
          <dgm:chMax val="0"/>
          <dgm:bulletEnabled val="1"/>
        </dgm:presLayoutVars>
      </dgm:prSet>
      <dgm:spPr/>
    </dgm:pt>
    <dgm:pt modelId="{F79E8FD0-AF1F-4729-BCDE-76432BB8C8EA}" type="pres">
      <dgm:prSet presAssocID="{E984CA14-EA12-4FBE-92F9-1BB785CB7A22}" presName="parentRect" presStyleLbl="alignNode1" presStyleIdx="0" presStyleCnt="2"/>
      <dgm:spPr/>
    </dgm:pt>
    <dgm:pt modelId="{40FC0318-DB82-4AC5-BBF3-BB1ADD509805}" type="pres">
      <dgm:prSet presAssocID="{E984CA14-EA12-4FBE-92F9-1BB785CB7A22}" presName="adorn" presStyleLbl="fgAccFollowNod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pt>
    <dgm:pt modelId="{35677EA6-3DD6-4A7F-BB7A-2A7FC8FC40DB}" type="pres">
      <dgm:prSet presAssocID="{7EF2031F-68C7-4D51-B809-B19F2022AFD1}" presName="sibTrans" presStyleLbl="sibTrans2D1" presStyleIdx="0" presStyleCnt="0"/>
      <dgm:spPr/>
    </dgm:pt>
    <dgm:pt modelId="{3DE4285B-7A23-46F6-9CEE-D822EC51CAAA}" type="pres">
      <dgm:prSet presAssocID="{69FD9CF8-2B03-4779-8E66-A3C232884E12}" presName="compNode" presStyleCnt="0"/>
      <dgm:spPr/>
    </dgm:pt>
    <dgm:pt modelId="{502B9CE9-C792-4C9F-BC16-1A3548646F85}" type="pres">
      <dgm:prSet presAssocID="{69FD9CF8-2B03-4779-8E66-A3C232884E12}" presName="childRect" presStyleLbl="bgAcc1" presStyleIdx="1" presStyleCnt="2">
        <dgm:presLayoutVars>
          <dgm:bulletEnabled val="1"/>
        </dgm:presLayoutVars>
      </dgm:prSet>
      <dgm:spPr/>
    </dgm:pt>
    <dgm:pt modelId="{DE1D47F9-ABBF-4396-BC39-1A4DDF7CC660}" type="pres">
      <dgm:prSet presAssocID="{69FD9CF8-2B03-4779-8E66-A3C232884E12}" presName="parentText" presStyleLbl="node1" presStyleIdx="0" presStyleCnt="0">
        <dgm:presLayoutVars>
          <dgm:chMax val="0"/>
          <dgm:bulletEnabled val="1"/>
        </dgm:presLayoutVars>
      </dgm:prSet>
      <dgm:spPr/>
    </dgm:pt>
    <dgm:pt modelId="{AFD77ECA-A488-41AE-83AE-A6DFED98C83B}" type="pres">
      <dgm:prSet presAssocID="{69FD9CF8-2B03-4779-8E66-A3C232884E12}" presName="parentRect" presStyleLbl="alignNode1" presStyleIdx="1" presStyleCnt="2"/>
      <dgm:spPr/>
    </dgm:pt>
    <dgm:pt modelId="{2046CBCE-9198-4E1B-9B9F-97F3FBF9179F}" type="pres">
      <dgm:prSet presAssocID="{69FD9CF8-2B03-4779-8E66-A3C232884E12}" presName="adorn" presStyleLbl="fgAccFollowNode1" presStyleIdx="1" presStyleCnt="2"/>
      <dgm:spPr>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53016" r="-88984"/>
          </a:stretch>
        </a:blipFill>
      </dgm:spPr>
    </dgm:pt>
  </dgm:ptLst>
  <dgm:cxnLst>
    <dgm:cxn modelId="{EEB23B05-ED10-4C9A-8605-EC12C59CBC7E}" type="presOf" srcId="{7CB5FE46-8932-4C75-ADDA-C70ADDC0A9AF}" destId="{4AAE9C58-F153-48E3-A8A7-C9431EE4EC7A}" srcOrd="0" destOrd="2" presId="urn:microsoft.com/office/officeart/2005/8/layout/bList2"/>
    <dgm:cxn modelId="{F2C7280D-F71E-42D3-B20F-DEEE10CB68B2}" srcId="{69FD9CF8-2B03-4779-8E66-A3C232884E12}" destId="{47593E9C-2092-440A-AB1B-A2C0772A77F2}" srcOrd="3" destOrd="0" parTransId="{DF63464E-0B38-47FB-A38B-48C4BA07B090}" sibTransId="{FF70811C-C08C-42C3-A27E-8ACEBA84D1D5}"/>
    <dgm:cxn modelId="{28D6D034-5BD7-4C0F-B49A-4CA939CFC9BE}" type="presOf" srcId="{AB93974C-746E-47D9-AA93-29F05A42745A}" destId="{502B9CE9-C792-4C9F-BC16-1A3548646F85}" srcOrd="0" destOrd="1" presId="urn:microsoft.com/office/officeart/2005/8/layout/bList2"/>
    <dgm:cxn modelId="{8DE86335-877F-4765-949A-2E3EDC762EAF}" type="presOf" srcId="{5E60FA0D-CFE4-41F8-8C29-896D6B3469AC}" destId="{4AAE9C58-F153-48E3-A8A7-C9431EE4EC7A}" srcOrd="0" destOrd="3" presId="urn:microsoft.com/office/officeart/2005/8/layout/bList2"/>
    <dgm:cxn modelId="{BAB21237-87FB-4563-9202-9DCB591025E0}" type="presOf" srcId="{E984CA14-EA12-4FBE-92F9-1BB785CB7A22}" destId="{81E81FB9-CD0D-4E80-8DE1-F823EF4BD2C9}" srcOrd="0" destOrd="0" presId="urn:microsoft.com/office/officeart/2005/8/layout/bList2"/>
    <dgm:cxn modelId="{A47BA539-1AB8-4DE3-8091-FE989D7532E3}" type="presOf" srcId="{CC5E86AA-C936-4028-8CFD-EF954F7BDF77}" destId="{4AAE9C58-F153-48E3-A8A7-C9431EE4EC7A}" srcOrd="0" destOrd="1" presId="urn:microsoft.com/office/officeart/2005/8/layout/bList2"/>
    <dgm:cxn modelId="{EDFF293A-21DB-4F91-8AFA-232C0F9BA3DC}" srcId="{02CAF97A-30DB-4335-BC08-ED05D12D513F}" destId="{69FD9CF8-2B03-4779-8E66-A3C232884E12}" srcOrd="1" destOrd="0" parTransId="{A4481814-EADC-4AE4-AEA7-EC2B10F24604}" sibTransId="{41FDF967-A1D1-4C19-B3EA-610BC0B2BD6A}"/>
    <dgm:cxn modelId="{50C3705D-0212-462A-ABFB-A7620B3099C1}" srcId="{E984CA14-EA12-4FBE-92F9-1BB785CB7A22}" destId="{225FB573-4C1E-4756-8942-5699988CA033}" srcOrd="0" destOrd="0" parTransId="{E802F672-485B-4095-9C43-50E8FA4D5BA7}" sibTransId="{429C7000-FC12-4695-92EC-93B8C37E3D53}"/>
    <dgm:cxn modelId="{D96B8942-BC1F-4CC0-8532-3439A62CD253}" srcId="{225FB573-4C1E-4756-8942-5699988CA033}" destId="{CC5E86AA-C936-4028-8CFD-EF954F7BDF77}" srcOrd="0" destOrd="0" parTransId="{9DD00CFD-3FD6-447F-903C-8126F8A5501A}" sibTransId="{75A47CE1-1B0D-44F4-8D1A-269414C61B44}"/>
    <dgm:cxn modelId="{EC7DCC64-9629-4DDB-BFCC-CA250A5880CF}" srcId="{225FB573-4C1E-4756-8942-5699988CA033}" destId="{5E60FA0D-CFE4-41F8-8C29-896D6B3469AC}" srcOrd="2" destOrd="0" parTransId="{7A1EC341-E96F-4D48-ADE6-8BAF46A223EC}" sibTransId="{B4B50501-70AE-42E4-982F-2C0E505FAE00}"/>
    <dgm:cxn modelId="{9991D066-B565-4B3E-A482-D49F744CF60C}" type="presOf" srcId="{69FD9CF8-2B03-4779-8E66-A3C232884E12}" destId="{DE1D47F9-ABBF-4396-BC39-1A4DDF7CC660}" srcOrd="0" destOrd="0" presId="urn:microsoft.com/office/officeart/2005/8/layout/bList2"/>
    <dgm:cxn modelId="{7141EF4C-3A4E-49C5-9B19-F6257F08320A}" type="presOf" srcId="{69FD9CF8-2B03-4779-8E66-A3C232884E12}" destId="{AFD77ECA-A488-41AE-83AE-A6DFED98C83B}" srcOrd="1" destOrd="0" presId="urn:microsoft.com/office/officeart/2005/8/layout/bList2"/>
    <dgm:cxn modelId="{33CB4751-2684-4FEE-A9DB-79A703973DF9}" type="presOf" srcId="{225FB573-4C1E-4756-8942-5699988CA033}" destId="{4AAE9C58-F153-48E3-A8A7-C9431EE4EC7A}" srcOrd="0" destOrd="0" presId="urn:microsoft.com/office/officeart/2005/8/layout/bList2"/>
    <dgm:cxn modelId="{4F48C857-415F-4ED1-A3AF-D76AEBABFCA4}" srcId="{02CAF97A-30DB-4335-BC08-ED05D12D513F}" destId="{E984CA14-EA12-4FBE-92F9-1BB785CB7A22}" srcOrd="0" destOrd="0" parTransId="{B81AA8CC-041F-4F11-8A8B-6EF3625E062A}" sibTransId="{7EF2031F-68C7-4D51-B809-B19F2022AFD1}"/>
    <dgm:cxn modelId="{B4AF4C7F-D63C-47A7-A1AC-1178E3603AED}" srcId="{69FD9CF8-2B03-4779-8E66-A3C232884E12}" destId="{C7DB17D6-86D6-46A4-AD39-30B3527CDFAC}" srcOrd="2" destOrd="0" parTransId="{3AEE05BB-FCB3-482C-9991-0DA4AD71700A}" sibTransId="{6C432F82-53A3-4034-9FDD-BFEA58415795}"/>
    <dgm:cxn modelId="{09F59680-C2A4-4F95-B239-21F05DC65695}" type="presOf" srcId="{DFCAD738-4AC6-4F52-AD60-18F1EE428AA7}" destId="{502B9CE9-C792-4C9F-BC16-1A3548646F85}" srcOrd="0" destOrd="0" presId="urn:microsoft.com/office/officeart/2005/8/layout/bList2"/>
    <dgm:cxn modelId="{1E7B8784-AB22-43D9-8991-A3E8FE1EE075}" srcId="{69FD9CF8-2B03-4779-8E66-A3C232884E12}" destId="{AB93974C-746E-47D9-AA93-29F05A42745A}" srcOrd="1" destOrd="0" parTransId="{D25AEDAA-CDA3-40B1-AA8D-9FCA63C09076}" sibTransId="{2DC309D0-58A5-44F3-AFA0-92A2B6D6D53F}"/>
    <dgm:cxn modelId="{B5D43586-9415-4FC4-A03A-5C2EBA461791}" srcId="{225FB573-4C1E-4756-8942-5699988CA033}" destId="{7CB5FE46-8932-4C75-ADDA-C70ADDC0A9AF}" srcOrd="1" destOrd="0" parTransId="{9A9650E4-9BB4-493B-8B7B-1F140A9DA294}" sibTransId="{B23F3CFC-07C2-49BE-952E-DEA9023C1397}"/>
    <dgm:cxn modelId="{9694EB8E-6240-4F93-A160-3113508CF831}" type="presOf" srcId="{02CAF97A-30DB-4335-BC08-ED05D12D513F}" destId="{61B575D9-72C7-479B-B959-78FF5D987B82}" srcOrd="0" destOrd="0" presId="urn:microsoft.com/office/officeart/2005/8/layout/bList2"/>
    <dgm:cxn modelId="{02ED5F9D-7D12-45D5-85A3-D4CD40F9E89E}" type="presOf" srcId="{47593E9C-2092-440A-AB1B-A2C0772A77F2}" destId="{502B9CE9-C792-4C9F-BC16-1A3548646F85}" srcOrd="0" destOrd="3" presId="urn:microsoft.com/office/officeart/2005/8/layout/bList2"/>
    <dgm:cxn modelId="{109B10B7-35D9-4BD3-A6B9-933525D5793E}" type="presOf" srcId="{E984CA14-EA12-4FBE-92F9-1BB785CB7A22}" destId="{F79E8FD0-AF1F-4729-BCDE-76432BB8C8EA}" srcOrd="1" destOrd="0" presId="urn:microsoft.com/office/officeart/2005/8/layout/bList2"/>
    <dgm:cxn modelId="{50CB6CC1-18AB-479F-A89D-C0E2025C8A0E}" type="presOf" srcId="{C7DB17D6-86D6-46A4-AD39-30B3527CDFAC}" destId="{502B9CE9-C792-4C9F-BC16-1A3548646F85}" srcOrd="0" destOrd="2" presId="urn:microsoft.com/office/officeart/2005/8/layout/bList2"/>
    <dgm:cxn modelId="{4AFF81DA-60AD-449F-8C1F-DD4D6D25E27D}" type="presOf" srcId="{7EF2031F-68C7-4D51-B809-B19F2022AFD1}" destId="{35677EA6-3DD6-4A7F-BB7A-2A7FC8FC40DB}" srcOrd="0" destOrd="0" presId="urn:microsoft.com/office/officeart/2005/8/layout/bList2"/>
    <dgm:cxn modelId="{D79222F0-9152-40BC-9CDC-FCF99B702085}" srcId="{69FD9CF8-2B03-4779-8E66-A3C232884E12}" destId="{DFCAD738-4AC6-4F52-AD60-18F1EE428AA7}" srcOrd="0" destOrd="0" parTransId="{43C4D739-EEE8-4751-BA0F-A15F6B158CB0}" sibTransId="{47EF511C-FDC0-4BE0-AE87-3C388CC5FD4A}"/>
    <dgm:cxn modelId="{0100CA09-296B-44EC-96FF-9A25DB52E7D3}" type="presParOf" srcId="{61B575D9-72C7-479B-B959-78FF5D987B82}" destId="{7B6D9EC9-C90A-4007-8D7B-C810EDC51A33}" srcOrd="0" destOrd="0" presId="urn:microsoft.com/office/officeart/2005/8/layout/bList2"/>
    <dgm:cxn modelId="{C7F90A42-A3EE-4748-B8D9-B90E3870F16C}" type="presParOf" srcId="{7B6D9EC9-C90A-4007-8D7B-C810EDC51A33}" destId="{4AAE9C58-F153-48E3-A8A7-C9431EE4EC7A}" srcOrd="0" destOrd="0" presId="urn:microsoft.com/office/officeart/2005/8/layout/bList2"/>
    <dgm:cxn modelId="{DAFE371A-2F19-46A9-AAC4-7C61BCE304F3}" type="presParOf" srcId="{7B6D9EC9-C90A-4007-8D7B-C810EDC51A33}" destId="{81E81FB9-CD0D-4E80-8DE1-F823EF4BD2C9}" srcOrd="1" destOrd="0" presId="urn:microsoft.com/office/officeart/2005/8/layout/bList2"/>
    <dgm:cxn modelId="{078DE5DD-4DAA-495A-A2E1-0B514B026FFA}" type="presParOf" srcId="{7B6D9EC9-C90A-4007-8D7B-C810EDC51A33}" destId="{F79E8FD0-AF1F-4729-BCDE-76432BB8C8EA}" srcOrd="2" destOrd="0" presId="urn:microsoft.com/office/officeart/2005/8/layout/bList2"/>
    <dgm:cxn modelId="{4E6D4F8A-D6A8-4417-BD7C-EFB8E023EF35}" type="presParOf" srcId="{7B6D9EC9-C90A-4007-8D7B-C810EDC51A33}" destId="{40FC0318-DB82-4AC5-BBF3-BB1ADD509805}" srcOrd="3" destOrd="0" presId="urn:microsoft.com/office/officeart/2005/8/layout/bList2"/>
    <dgm:cxn modelId="{5EC47A11-4829-4D83-BBC2-DED3F5DD7B06}" type="presParOf" srcId="{61B575D9-72C7-479B-B959-78FF5D987B82}" destId="{35677EA6-3DD6-4A7F-BB7A-2A7FC8FC40DB}" srcOrd="1" destOrd="0" presId="urn:microsoft.com/office/officeart/2005/8/layout/bList2"/>
    <dgm:cxn modelId="{32B45CAD-0EC6-40D9-B3BC-F0B89738D6DF}" type="presParOf" srcId="{61B575D9-72C7-479B-B959-78FF5D987B82}" destId="{3DE4285B-7A23-46F6-9CEE-D822EC51CAAA}" srcOrd="2" destOrd="0" presId="urn:microsoft.com/office/officeart/2005/8/layout/bList2"/>
    <dgm:cxn modelId="{EA544726-6EED-4FC6-B10B-AEECA2EC42A0}" type="presParOf" srcId="{3DE4285B-7A23-46F6-9CEE-D822EC51CAAA}" destId="{502B9CE9-C792-4C9F-BC16-1A3548646F85}" srcOrd="0" destOrd="0" presId="urn:microsoft.com/office/officeart/2005/8/layout/bList2"/>
    <dgm:cxn modelId="{A546869E-1DC1-438A-BB44-752D8DAAAC92}" type="presParOf" srcId="{3DE4285B-7A23-46F6-9CEE-D822EC51CAAA}" destId="{DE1D47F9-ABBF-4396-BC39-1A4DDF7CC660}" srcOrd="1" destOrd="0" presId="urn:microsoft.com/office/officeart/2005/8/layout/bList2"/>
    <dgm:cxn modelId="{59D0ABF0-57DE-4459-B62B-FB46FE71A269}" type="presParOf" srcId="{3DE4285B-7A23-46F6-9CEE-D822EC51CAAA}" destId="{AFD77ECA-A488-41AE-83AE-A6DFED98C83B}" srcOrd="2" destOrd="0" presId="urn:microsoft.com/office/officeart/2005/8/layout/bList2"/>
    <dgm:cxn modelId="{BD6FDF04-B60D-4EED-A515-BCC5BBBC2C49}" type="presParOf" srcId="{3DE4285B-7A23-46F6-9CEE-D822EC51CAAA}" destId="{2046CBCE-9198-4E1B-9B9F-97F3FBF9179F}"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83B8262-CD69-4F27-8EED-23353C508E40}" type="doc">
      <dgm:prSet loTypeId="urn:microsoft.com/office/officeart/2009/3/layout/StepUpProcess" loCatId="process" qsTypeId="urn:microsoft.com/office/officeart/2005/8/quickstyle/simple5" qsCatId="simple" csTypeId="urn:microsoft.com/office/officeart/2005/8/colors/colorful4" csCatId="colorful" phldr="1"/>
      <dgm:spPr/>
      <dgm:t>
        <a:bodyPr/>
        <a:lstStyle/>
        <a:p>
          <a:endParaRPr lang="en-AU"/>
        </a:p>
      </dgm:t>
    </dgm:pt>
    <dgm:pt modelId="{E8B7AD92-E80A-445C-BD27-8A2CF9E668FE}">
      <dgm:prSet phldrT="[Text]"/>
      <dgm:spPr/>
      <dgm:t>
        <a:bodyPr/>
        <a:lstStyle/>
        <a:p>
          <a:r>
            <a:rPr lang="en-AU" dirty="0" err="1"/>
            <a:t>Deskriptif</a:t>
          </a:r>
          <a:endParaRPr lang="en-AU" dirty="0"/>
        </a:p>
      </dgm:t>
    </dgm:pt>
    <dgm:pt modelId="{FB9DEDF9-83D5-4FD4-BE49-BE3E1E0B394D}" type="parTrans" cxnId="{D86A8092-3713-400E-81C8-5FB72664EDA9}">
      <dgm:prSet/>
      <dgm:spPr/>
      <dgm:t>
        <a:bodyPr/>
        <a:lstStyle/>
        <a:p>
          <a:endParaRPr lang="en-AU"/>
        </a:p>
      </dgm:t>
    </dgm:pt>
    <dgm:pt modelId="{27E9F7FB-B830-446F-8747-DED880242CCE}" type="sibTrans" cxnId="{D86A8092-3713-400E-81C8-5FB72664EDA9}">
      <dgm:prSet/>
      <dgm:spPr/>
      <dgm:t>
        <a:bodyPr/>
        <a:lstStyle/>
        <a:p>
          <a:endParaRPr lang="en-AU"/>
        </a:p>
      </dgm:t>
    </dgm:pt>
    <dgm:pt modelId="{BCD4F0EA-1CED-4172-8724-6F41DD3FEB74}">
      <dgm:prSet phldrT="[Text]"/>
      <dgm:spPr/>
      <dgm:t>
        <a:bodyPr/>
        <a:lstStyle/>
        <a:p>
          <a:r>
            <a:rPr lang="en-AU" dirty="0" err="1"/>
            <a:t>Prediktif</a:t>
          </a:r>
          <a:endParaRPr lang="en-AU" dirty="0"/>
        </a:p>
      </dgm:t>
    </dgm:pt>
    <dgm:pt modelId="{91301139-D285-42F4-8B67-3C6D1F080D85}" type="parTrans" cxnId="{BBB0DE84-B078-4EAB-BD9D-CBFB0CDD467B}">
      <dgm:prSet/>
      <dgm:spPr/>
      <dgm:t>
        <a:bodyPr/>
        <a:lstStyle/>
        <a:p>
          <a:endParaRPr lang="en-AU"/>
        </a:p>
      </dgm:t>
    </dgm:pt>
    <dgm:pt modelId="{1B22E805-6244-4281-AB71-0E6D5915F700}" type="sibTrans" cxnId="{BBB0DE84-B078-4EAB-BD9D-CBFB0CDD467B}">
      <dgm:prSet/>
      <dgm:spPr/>
      <dgm:t>
        <a:bodyPr/>
        <a:lstStyle/>
        <a:p>
          <a:endParaRPr lang="en-AU"/>
        </a:p>
      </dgm:t>
    </dgm:pt>
    <dgm:pt modelId="{03B3B8CC-9846-4F0D-BD63-5B7932C97ECF}">
      <dgm:prSet phldrT="[Text]"/>
      <dgm:spPr/>
      <dgm:t>
        <a:bodyPr/>
        <a:lstStyle/>
        <a:p>
          <a:r>
            <a:rPr lang="en-AU" dirty="0" err="1"/>
            <a:t>Preskriptif</a:t>
          </a:r>
          <a:endParaRPr lang="en-AU" dirty="0"/>
        </a:p>
      </dgm:t>
    </dgm:pt>
    <dgm:pt modelId="{92DA6A97-7753-4B35-8992-4F8D204ACE59}" type="parTrans" cxnId="{B762E3E7-CB0E-4423-9028-748A5455024F}">
      <dgm:prSet/>
      <dgm:spPr/>
      <dgm:t>
        <a:bodyPr/>
        <a:lstStyle/>
        <a:p>
          <a:endParaRPr lang="en-AU"/>
        </a:p>
      </dgm:t>
    </dgm:pt>
    <dgm:pt modelId="{90FECFC3-3F99-4F2F-A8A7-D56C4A83E99A}" type="sibTrans" cxnId="{B762E3E7-CB0E-4423-9028-748A5455024F}">
      <dgm:prSet/>
      <dgm:spPr/>
      <dgm:t>
        <a:bodyPr/>
        <a:lstStyle/>
        <a:p>
          <a:endParaRPr lang="en-AU"/>
        </a:p>
      </dgm:t>
    </dgm:pt>
    <dgm:pt modelId="{A06B9F07-16E6-46A4-94EB-09155BDD7220}">
      <dgm:prSet phldrT="[Text]"/>
      <dgm:spPr/>
      <dgm:t>
        <a:bodyPr/>
        <a:lstStyle/>
        <a:p>
          <a:r>
            <a:rPr lang="en-AU" dirty="0" err="1"/>
            <a:t>Analisis</a:t>
          </a:r>
          <a:r>
            <a:rPr lang="en-AU" dirty="0"/>
            <a:t> </a:t>
          </a:r>
          <a:r>
            <a:rPr lang="en-AU" dirty="0" err="1"/>
            <a:t>Statistik</a:t>
          </a:r>
          <a:endParaRPr lang="en-AU" dirty="0"/>
        </a:p>
      </dgm:t>
    </dgm:pt>
    <dgm:pt modelId="{093BEEDD-1D08-4320-8E96-5E063FE27E45}" type="parTrans" cxnId="{8EEC98C9-3E94-4547-87DB-99B68D105B2B}">
      <dgm:prSet/>
      <dgm:spPr/>
      <dgm:t>
        <a:bodyPr/>
        <a:lstStyle/>
        <a:p>
          <a:endParaRPr lang="en-AU"/>
        </a:p>
      </dgm:t>
    </dgm:pt>
    <dgm:pt modelId="{7D467DB9-8729-4879-90D6-E9C3872F1079}" type="sibTrans" cxnId="{8EEC98C9-3E94-4547-87DB-99B68D105B2B}">
      <dgm:prSet/>
      <dgm:spPr/>
      <dgm:t>
        <a:bodyPr/>
        <a:lstStyle/>
        <a:p>
          <a:endParaRPr lang="en-AU"/>
        </a:p>
      </dgm:t>
    </dgm:pt>
    <dgm:pt modelId="{C50608F3-DE7D-404D-8DA8-A25E60A1AFCA}">
      <dgm:prSet phldrT="[Text]"/>
      <dgm:spPr/>
      <dgm:t>
        <a:bodyPr/>
        <a:lstStyle/>
        <a:p>
          <a:r>
            <a:rPr lang="en-AU" dirty="0" err="1"/>
            <a:t>Apa</a:t>
          </a:r>
          <a:r>
            <a:rPr lang="en-AU" dirty="0"/>
            <a:t> yang </a:t>
          </a:r>
          <a:r>
            <a:rPr lang="en-AU" dirty="0" err="1"/>
            <a:t>mungkin</a:t>
          </a:r>
          <a:r>
            <a:rPr lang="en-AU" dirty="0"/>
            <a:t> </a:t>
          </a:r>
          <a:r>
            <a:rPr lang="en-AU" dirty="0" err="1"/>
            <a:t>terjadi</a:t>
          </a:r>
          <a:endParaRPr lang="en-AU" dirty="0"/>
        </a:p>
      </dgm:t>
    </dgm:pt>
    <dgm:pt modelId="{FE7C23C8-5909-40E7-9737-7B0DBEC4F19E}" type="parTrans" cxnId="{EC94C423-F0FF-4F74-9A9D-61F0A047AC97}">
      <dgm:prSet/>
      <dgm:spPr/>
      <dgm:t>
        <a:bodyPr/>
        <a:lstStyle/>
        <a:p>
          <a:endParaRPr lang="en-AU"/>
        </a:p>
      </dgm:t>
    </dgm:pt>
    <dgm:pt modelId="{5F938B99-5D0D-46CB-AB78-E27986060348}" type="sibTrans" cxnId="{EC94C423-F0FF-4F74-9A9D-61F0A047AC97}">
      <dgm:prSet/>
      <dgm:spPr/>
      <dgm:t>
        <a:bodyPr/>
        <a:lstStyle/>
        <a:p>
          <a:endParaRPr lang="en-AU"/>
        </a:p>
      </dgm:t>
    </dgm:pt>
    <dgm:pt modelId="{82E5A092-C7B6-451B-BBB2-E2CE54066468}">
      <dgm:prSet phldrT="[Text]"/>
      <dgm:spPr/>
      <dgm:t>
        <a:bodyPr/>
        <a:lstStyle/>
        <a:p>
          <a:r>
            <a:rPr lang="en-AU" dirty="0"/>
            <a:t>Insight </a:t>
          </a:r>
          <a:r>
            <a:rPr lang="en-AU" dirty="0" err="1"/>
            <a:t>menjadi</a:t>
          </a:r>
          <a:r>
            <a:rPr lang="en-AU" dirty="0"/>
            <a:t> </a:t>
          </a:r>
          <a:r>
            <a:rPr lang="en-AU" dirty="0" err="1"/>
            <a:t>rekomendasi</a:t>
          </a:r>
          <a:r>
            <a:rPr lang="en-AU" dirty="0"/>
            <a:t> Tindakan</a:t>
          </a:r>
        </a:p>
      </dgm:t>
    </dgm:pt>
    <dgm:pt modelId="{4A796676-012B-4C4D-A346-A5C26CC63490}" type="parTrans" cxnId="{7FA8841A-C6ED-4A81-92A0-F9EA50C1ABD4}">
      <dgm:prSet/>
      <dgm:spPr/>
      <dgm:t>
        <a:bodyPr/>
        <a:lstStyle/>
        <a:p>
          <a:endParaRPr lang="en-AU"/>
        </a:p>
      </dgm:t>
    </dgm:pt>
    <dgm:pt modelId="{C026B54C-CA43-41DC-A95C-E47ED71A71B8}" type="sibTrans" cxnId="{7FA8841A-C6ED-4A81-92A0-F9EA50C1ABD4}">
      <dgm:prSet/>
      <dgm:spPr/>
      <dgm:t>
        <a:bodyPr/>
        <a:lstStyle/>
        <a:p>
          <a:endParaRPr lang="en-AU"/>
        </a:p>
      </dgm:t>
    </dgm:pt>
    <dgm:pt modelId="{82D7F795-E816-48DA-A61E-20BA6E70210B}">
      <dgm:prSet phldrT="[Text]"/>
      <dgm:spPr/>
      <dgm:t>
        <a:bodyPr/>
        <a:lstStyle/>
        <a:p>
          <a:r>
            <a:rPr lang="en-AU" dirty="0" err="1"/>
            <a:t>Visualisasi</a:t>
          </a:r>
          <a:r>
            <a:rPr lang="en-AU" dirty="0"/>
            <a:t> data</a:t>
          </a:r>
        </a:p>
      </dgm:t>
    </dgm:pt>
    <dgm:pt modelId="{AAF48DD9-3DE8-45B7-BD5A-325E6770D46A}" type="parTrans" cxnId="{AC450685-40D7-49FB-942B-121638608D97}">
      <dgm:prSet/>
      <dgm:spPr/>
      <dgm:t>
        <a:bodyPr/>
        <a:lstStyle/>
        <a:p>
          <a:endParaRPr lang="en-AU"/>
        </a:p>
      </dgm:t>
    </dgm:pt>
    <dgm:pt modelId="{2C1B7AC2-754F-43F4-8327-00A51A685A51}" type="sibTrans" cxnId="{AC450685-40D7-49FB-942B-121638608D97}">
      <dgm:prSet/>
      <dgm:spPr/>
      <dgm:t>
        <a:bodyPr/>
        <a:lstStyle/>
        <a:p>
          <a:endParaRPr lang="en-AU"/>
        </a:p>
      </dgm:t>
    </dgm:pt>
    <dgm:pt modelId="{CD0B75E9-A394-4A29-94C9-3DB0947B6278}">
      <dgm:prSet phldrT="[Text]"/>
      <dgm:spPr/>
      <dgm:t>
        <a:bodyPr/>
        <a:lstStyle/>
        <a:p>
          <a:r>
            <a:rPr lang="en-AU" dirty="0"/>
            <a:t>Unsupervised learning</a:t>
          </a:r>
        </a:p>
      </dgm:t>
    </dgm:pt>
    <dgm:pt modelId="{E4B282F1-2BD6-4F79-9848-80986D5DA555}" type="parTrans" cxnId="{BAE811DD-D60C-4BC3-9F56-C60052841077}">
      <dgm:prSet/>
      <dgm:spPr/>
      <dgm:t>
        <a:bodyPr/>
        <a:lstStyle/>
        <a:p>
          <a:endParaRPr lang="en-AU"/>
        </a:p>
      </dgm:t>
    </dgm:pt>
    <dgm:pt modelId="{B9A642DC-039E-4909-8259-134D600D4C52}" type="sibTrans" cxnId="{BAE811DD-D60C-4BC3-9F56-C60052841077}">
      <dgm:prSet/>
      <dgm:spPr/>
      <dgm:t>
        <a:bodyPr/>
        <a:lstStyle/>
        <a:p>
          <a:endParaRPr lang="en-AU"/>
        </a:p>
      </dgm:t>
    </dgm:pt>
    <dgm:pt modelId="{3B8C567D-0CF1-4390-825F-2AE6180F6FEB}">
      <dgm:prSet phldrT="[Text]"/>
      <dgm:spPr/>
      <dgm:t>
        <a:bodyPr/>
        <a:lstStyle/>
        <a:p>
          <a:r>
            <a:rPr lang="en-AU" dirty="0" err="1"/>
            <a:t>Pengembangan</a:t>
          </a:r>
          <a:r>
            <a:rPr lang="en-AU" dirty="0"/>
            <a:t> </a:t>
          </a:r>
          <a:r>
            <a:rPr lang="en-AU" dirty="0" err="1"/>
            <a:t>analisis</a:t>
          </a:r>
          <a:r>
            <a:rPr lang="en-AU" dirty="0"/>
            <a:t> </a:t>
          </a:r>
          <a:r>
            <a:rPr lang="en-AU" dirty="0" err="1"/>
            <a:t>prediktif</a:t>
          </a:r>
          <a:endParaRPr lang="en-AU" dirty="0"/>
        </a:p>
      </dgm:t>
    </dgm:pt>
    <dgm:pt modelId="{720A3AD6-0FF1-441E-947B-8BE4E1A714E9}" type="parTrans" cxnId="{F8D637C2-9ED8-4242-8EBD-96EDBCD13FE0}">
      <dgm:prSet/>
      <dgm:spPr/>
      <dgm:t>
        <a:bodyPr/>
        <a:lstStyle/>
        <a:p>
          <a:endParaRPr lang="en-AU"/>
        </a:p>
      </dgm:t>
    </dgm:pt>
    <dgm:pt modelId="{7535E522-1CE5-4283-9DEF-0E91559127D2}" type="sibTrans" cxnId="{F8D637C2-9ED8-4242-8EBD-96EDBCD13FE0}">
      <dgm:prSet/>
      <dgm:spPr/>
      <dgm:t>
        <a:bodyPr/>
        <a:lstStyle/>
        <a:p>
          <a:endParaRPr lang="en-AU"/>
        </a:p>
      </dgm:t>
    </dgm:pt>
    <dgm:pt modelId="{67D450DD-024E-4696-9C7C-CB0EB21E7187}">
      <dgm:prSet phldrT="[Text]"/>
      <dgm:spPr/>
      <dgm:t>
        <a:bodyPr/>
        <a:lstStyle/>
        <a:p>
          <a:endParaRPr lang="en-AU" dirty="0"/>
        </a:p>
      </dgm:t>
    </dgm:pt>
    <dgm:pt modelId="{E1C4EE95-D5DE-461C-A7A6-7F0B5C93D0FE}" type="parTrans" cxnId="{18DDFA87-C96E-40DF-93C5-92B401B4E58D}">
      <dgm:prSet/>
      <dgm:spPr/>
      <dgm:t>
        <a:bodyPr/>
        <a:lstStyle/>
        <a:p>
          <a:endParaRPr lang="en-AU"/>
        </a:p>
      </dgm:t>
    </dgm:pt>
    <dgm:pt modelId="{32A0D50D-40F7-4530-B615-297A3F2CD13F}" type="sibTrans" cxnId="{18DDFA87-C96E-40DF-93C5-92B401B4E58D}">
      <dgm:prSet/>
      <dgm:spPr/>
      <dgm:t>
        <a:bodyPr/>
        <a:lstStyle/>
        <a:p>
          <a:endParaRPr lang="en-AU"/>
        </a:p>
      </dgm:t>
    </dgm:pt>
    <dgm:pt modelId="{6B13651A-39BD-45A3-8930-F16CE5F143F9}">
      <dgm:prSet phldrT="[Text]"/>
      <dgm:spPr/>
      <dgm:t>
        <a:bodyPr/>
        <a:lstStyle/>
        <a:p>
          <a:endParaRPr lang="en-AU" dirty="0"/>
        </a:p>
      </dgm:t>
    </dgm:pt>
    <dgm:pt modelId="{62A2CF22-1940-4A97-BCD6-2966F8805752}" type="parTrans" cxnId="{A15FBC1A-D179-45A5-9E25-E68E609C5330}">
      <dgm:prSet/>
      <dgm:spPr/>
      <dgm:t>
        <a:bodyPr/>
        <a:lstStyle/>
        <a:p>
          <a:endParaRPr lang="en-AU"/>
        </a:p>
      </dgm:t>
    </dgm:pt>
    <dgm:pt modelId="{5EB8F254-B86C-4ADA-9349-628065ED370D}" type="sibTrans" cxnId="{A15FBC1A-D179-45A5-9E25-E68E609C5330}">
      <dgm:prSet/>
      <dgm:spPr/>
      <dgm:t>
        <a:bodyPr/>
        <a:lstStyle/>
        <a:p>
          <a:endParaRPr lang="en-AU"/>
        </a:p>
      </dgm:t>
    </dgm:pt>
    <dgm:pt modelId="{0D6253C0-1AB7-4A60-8690-394453C976CE}">
      <dgm:prSet phldrT="[Text]"/>
      <dgm:spPr/>
      <dgm:t>
        <a:bodyPr/>
        <a:lstStyle/>
        <a:p>
          <a:r>
            <a:rPr lang="en-AU" dirty="0"/>
            <a:t>Machine Learning</a:t>
          </a:r>
        </a:p>
      </dgm:t>
    </dgm:pt>
    <dgm:pt modelId="{630EB294-ED35-4F75-9D30-A6475151663E}" type="parTrans" cxnId="{C7E6622C-89BB-441F-A458-A01D0E206F4D}">
      <dgm:prSet/>
      <dgm:spPr/>
      <dgm:t>
        <a:bodyPr/>
        <a:lstStyle/>
        <a:p>
          <a:endParaRPr lang="en-AU"/>
        </a:p>
      </dgm:t>
    </dgm:pt>
    <dgm:pt modelId="{8BDBAC81-0FD9-4316-92F1-42294901B40F}" type="sibTrans" cxnId="{C7E6622C-89BB-441F-A458-A01D0E206F4D}">
      <dgm:prSet/>
      <dgm:spPr/>
      <dgm:t>
        <a:bodyPr/>
        <a:lstStyle/>
        <a:p>
          <a:endParaRPr lang="en-AU"/>
        </a:p>
      </dgm:t>
    </dgm:pt>
    <dgm:pt modelId="{E705C161-8642-4326-B0C4-6E790046CF6C}" type="pres">
      <dgm:prSet presAssocID="{483B8262-CD69-4F27-8EED-23353C508E40}" presName="rootnode" presStyleCnt="0">
        <dgm:presLayoutVars>
          <dgm:chMax/>
          <dgm:chPref/>
          <dgm:dir/>
          <dgm:animLvl val="lvl"/>
        </dgm:presLayoutVars>
      </dgm:prSet>
      <dgm:spPr/>
    </dgm:pt>
    <dgm:pt modelId="{0A474D3A-E033-4665-AE61-2A12369B7FD6}" type="pres">
      <dgm:prSet presAssocID="{E8B7AD92-E80A-445C-BD27-8A2CF9E668FE}" presName="composite" presStyleCnt="0"/>
      <dgm:spPr/>
    </dgm:pt>
    <dgm:pt modelId="{9F6823B8-6EBE-408A-B38C-BB70C2725FE0}" type="pres">
      <dgm:prSet presAssocID="{E8B7AD92-E80A-445C-BD27-8A2CF9E668FE}" presName="LShape" presStyleLbl="alignNode1" presStyleIdx="0" presStyleCnt="5"/>
      <dgm:spPr/>
    </dgm:pt>
    <dgm:pt modelId="{0E7F6444-318C-4580-872B-74FCC115A64A}" type="pres">
      <dgm:prSet presAssocID="{E8B7AD92-E80A-445C-BD27-8A2CF9E668FE}" presName="ParentText" presStyleLbl="revTx" presStyleIdx="0" presStyleCnt="3">
        <dgm:presLayoutVars>
          <dgm:chMax val="0"/>
          <dgm:chPref val="0"/>
          <dgm:bulletEnabled val="1"/>
        </dgm:presLayoutVars>
      </dgm:prSet>
      <dgm:spPr/>
    </dgm:pt>
    <dgm:pt modelId="{42490036-DDF3-4D41-9962-FB87F5785B1C}" type="pres">
      <dgm:prSet presAssocID="{E8B7AD92-E80A-445C-BD27-8A2CF9E668FE}" presName="Triangle" presStyleLbl="alignNode1" presStyleIdx="1" presStyleCnt="5"/>
      <dgm:spPr/>
    </dgm:pt>
    <dgm:pt modelId="{AC54F832-5E57-4E28-AAE2-FDF08481251C}" type="pres">
      <dgm:prSet presAssocID="{27E9F7FB-B830-446F-8747-DED880242CCE}" presName="sibTrans" presStyleCnt="0"/>
      <dgm:spPr/>
    </dgm:pt>
    <dgm:pt modelId="{A6210788-88BE-44BC-9EA8-E8162E2633BF}" type="pres">
      <dgm:prSet presAssocID="{27E9F7FB-B830-446F-8747-DED880242CCE}" presName="space" presStyleCnt="0"/>
      <dgm:spPr/>
    </dgm:pt>
    <dgm:pt modelId="{F7CA7878-362A-4B1E-A14E-FDCD33BC566C}" type="pres">
      <dgm:prSet presAssocID="{BCD4F0EA-1CED-4172-8724-6F41DD3FEB74}" presName="composite" presStyleCnt="0"/>
      <dgm:spPr/>
    </dgm:pt>
    <dgm:pt modelId="{A88CA972-930B-4CCF-A613-BBEDF61CC913}" type="pres">
      <dgm:prSet presAssocID="{BCD4F0EA-1CED-4172-8724-6F41DD3FEB74}" presName="LShape" presStyleLbl="alignNode1" presStyleIdx="2" presStyleCnt="5"/>
      <dgm:spPr/>
    </dgm:pt>
    <dgm:pt modelId="{C2503566-487B-4EE7-BA26-829967C2BC23}" type="pres">
      <dgm:prSet presAssocID="{BCD4F0EA-1CED-4172-8724-6F41DD3FEB74}" presName="ParentText" presStyleLbl="revTx" presStyleIdx="1" presStyleCnt="3">
        <dgm:presLayoutVars>
          <dgm:chMax val="0"/>
          <dgm:chPref val="0"/>
          <dgm:bulletEnabled val="1"/>
        </dgm:presLayoutVars>
      </dgm:prSet>
      <dgm:spPr/>
    </dgm:pt>
    <dgm:pt modelId="{DCDAF0F3-24B7-4CE1-80A5-42F3BEA5A7A7}" type="pres">
      <dgm:prSet presAssocID="{BCD4F0EA-1CED-4172-8724-6F41DD3FEB74}" presName="Triangle" presStyleLbl="alignNode1" presStyleIdx="3" presStyleCnt="5"/>
      <dgm:spPr/>
    </dgm:pt>
    <dgm:pt modelId="{5B0CB9C3-EA89-446D-BFDD-EEFA11DB8320}" type="pres">
      <dgm:prSet presAssocID="{1B22E805-6244-4281-AB71-0E6D5915F700}" presName="sibTrans" presStyleCnt="0"/>
      <dgm:spPr/>
    </dgm:pt>
    <dgm:pt modelId="{E1E1E0DF-5FAC-4D7E-9869-5612816FBFCF}" type="pres">
      <dgm:prSet presAssocID="{1B22E805-6244-4281-AB71-0E6D5915F700}" presName="space" presStyleCnt="0"/>
      <dgm:spPr/>
    </dgm:pt>
    <dgm:pt modelId="{4BB89406-B2BA-4DC9-A48D-787459F5B8CA}" type="pres">
      <dgm:prSet presAssocID="{03B3B8CC-9846-4F0D-BD63-5B7932C97ECF}" presName="composite" presStyleCnt="0"/>
      <dgm:spPr/>
    </dgm:pt>
    <dgm:pt modelId="{A9ADD693-4439-4F68-80F7-5B748821ED68}" type="pres">
      <dgm:prSet presAssocID="{03B3B8CC-9846-4F0D-BD63-5B7932C97ECF}" presName="LShape" presStyleLbl="alignNode1" presStyleIdx="4" presStyleCnt="5"/>
      <dgm:spPr/>
    </dgm:pt>
    <dgm:pt modelId="{3FDBCA45-45BA-4853-A59C-6D5867B74F37}" type="pres">
      <dgm:prSet presAssocID="{03B3B8CC-9846-4F0D-BD63-5B7932C97ECF}" presName="ParentText" presStyleLbl="revTx" presStyleIdx="2" presStyleCnt="3">
        <dgm:presLayoutVars>
          <dgm:chMax val="0"/>
          <dgm:chPref val="0"/>
          <dgm:bulletEnabled val="1"/>
        </dgm:presLayoutVars>
      </dgm:prSet>
      <dgm:spPr/>
    </dgm:pt>
  </dgm:ptLst>
  <dgm:cxnLst>
    <dgm:cxn modelId="{03D9D402-F3AC-43E9-8BF8-7F66C9DC6169}" type="presOf" srcId="{CD0B75E9-A394-4A29-94C9-3DB0947B6278}" destId="{0E7F6444-318C-4580-872B-74FCC115A64A}" srcOrd="0" destOrd="3" presId="urn:microsoft.com/office/officeart/2009/3/layout/StepUpProcess"/>
    <dgm:cxn modelId="{8DF08B03-248D-4D75-91C7-D41F13DF2C7D}" type="presOf" srcId="{82E5A092-C7B6-451B-BBB2-E2CE54066468}" destId="{3FDBCA45-45BA-4853-A59C-6D5867B74F37}" srcOrd="0" destOrd="1" presId="urn:microsoft.com/office/officeart/2009/3/layout/StepUpProcess"/>
    <dgm:cxn modelId="{5FC64A06-D07C-456C-A467-0B6036709C00}" type="presOf" srcId="{67D450DD-024E-4696-9C7C-CB0EB21E7187}" destId="{3FDBCA45-45BA-4853-A59C-6D5867B74F37}" srcOrd="0" destOrd="4" presId="urn:microsoft.com/office/officeart/2009/3/layout/StepUpProcess"/>
    <dgm:cxn modelId="{1ADF4A0B-A3EA-410F-BD20-DAA959DF0405}" type="presOf" srcId="{6B13651A-39BD-45A3-8930-F16CE5F143F9}" destId="{3FDBCA45-45BA-4853-A59C-6D5867B74F37}" srcOrd="0" destOrd="3" presId="urn:microsoft.com/office/officeart/2009/3/layout/StepUpProcess"/>
    <dgm:cxn modelId="{41BA1C1A-3883-4CC1-9C41-2DDC2FB9B679}" type="presOf" srcId="{A06B9F07-16E6-46A4-94EB-09155BDD7220}" destId="{0E7F6444-318C-4580-872B-74FCC115A64A}" srcOrd="0" destOrd="1" presId="urn:microsoft.com/office/officeart/2009/3/layout/StepUpProcess"/>
    <dgm:cxn modelId="{7FA8841A-C6ED-4A81-92A0-F9EA50C1ABD4}" srcId="{03B3B8CC-9846-4F0D-BD63-5B7932C97ECF}" destId="{82E5A092-C7B6-451B-BBB2-E2CE54066468}" srcOrd="0" destOrd="0" parTransId="{4A796676-012B-4C4D-A346-A5C26CC63490}" sibTransId="{C026B54C-CA43-41DC-A95C-E47ED71A71B8}"/>
    <dgm:cxn modelId="{A15FBC1A-D179-45A5-9E25-E68E609C5330}" srcId="{03B3B8CC-9846-4F0D-BD63-5B7932C97ECF}" destId="{6B13651A-39BD-45A3-8930-F16CE5F143F9}" srcOrd="2" destOrd="0" parTransId="{62A2CF22-1940-4A97-BCD6-2966F8805752}" sibTransId="{5EB8F254-B86C-4ADA-9349-628065ED370D}"/>
    <dgm:cxn modelId="{EC94C423-F0FF-4F74-9A9D-61F0A047AC97}" srcId="{BCD4F0EA-1CED-4172-8724-6F41DD3FEB74}" destId="{C50608F3-DE7D-404D-8DA8-A25E60A1AFCA}" srcOrd="0" destOrd="0" parTransId="{FE7C23C8-5909-40E7-9737-7B0DBEC4F19E}" sibTransId="{5F938B99-5D0D-46CB-AB78-E27986060348}"/>
    <dgm:cxn modelId="{C7E6622C-89BB-441F-A458-A01D0E206F4D}" srcId="{BCD4F0EA-1CED-4172-8724-6F41DD3FEB74}" destId="{0D6253C0-1AB7-4A60-8690-394453C976CE}" srcOrd="1" destOrd="0" parTransId="{630EB294-ED35-4F75-9D30-A6475151663E}" sibTransId="{8BDBAC81-0FD9-4316-92F1-42294901B40F}"/>
    <dgm:cxn modelId="{3CCCAD35-A095-4A1B-8FFE-182CD3533899}" type="presOf" srcId="{483B8262-CD69-4F27-8EED-23353C508E40}" destId="{E705C161-8642-4326-B0C4-6E790046CF6C}" srcOrd="0" destOrd="0" presId="urn:microsoft.com/office/officeart/2009/3/layout/StepUpProcess"/>
    <dgm:cxn modelId="{FED76060-21FF-420E-ABA3-85328909BA42}" type="presOf" srcId="{82D7F795-E816-48DA-A61E-20BA6E70210B}" destId="{0E7F6444-318C-4580-872B-74FCC115A64A}" srcOrd="0" destOrd="2" presId="urn:microsoft.com/office/officeart/2009/3/layout/StepUpProcess"/>
    <dgm:cxn modelId="{90C63E7F-0840-4292-9021-F652DE3420F7}" type="presOf" srcId="{C50608F3-DE7D-404D-8DA8-A25E60A1AFCA}" destId="{C2503566-487B-4EE7-BA26-829967C2BC23}" srcOrd="0" destOrd="1" presId="urn:microsoft.com/office/officeart/2009/3/layout/StepUpProcess"/>
    <dgm:cxn modelId="{BBB0DE84-B078-4EAB-BD9D-CBFB0CDD467B}" srcId="{483B8262-CD69-4F27-8EED-23353C508E40}" destId="{BCD4F0EA-1CED-4172-8724-6F41DD3FEB74}" srcOrd="1" destOrd="0" parTransId="{91301139-D285-42F4-8B67-3C6D1F080D85}" sibTransId="{1B22E805-6244-4281-AB71-0E6D5915F700}"/>
    <dgm:cxn modelId="{AC450685-40D7-49FB-942B-121638608D97}" srcId="{E8B7AD92-E80A-445C-BD27-8A2CF9E668FE}" destId="{82D7F795-E816-48DA-A61E-20BA6E70210B}" srcOrd="1" destOrd="0" parTransId="{AAF48DD9-3DE8-45B7-BD5A-325E6770D46A}" sibTransId="{2C1B7AC2-754F-43F4-8327-00A51A685A51}"/>
    <dgm:cxn modelId="{18DDFA87-C96E-40DF-93C5-92B401B4E58D}" srcId="{03B3B8CC-9846-4F0D-BD63-5B7932C97ECF}" destId="{67D450DD-024E-4696-9C7C-CB0EB21E7187}" srcOrd="3" destOrd="0" parTransId="{E1C4EE95-D5DE-461C-A7A6-7F0B5C93D0FE}" sibTransId="{32A0D50D-40F7-4530-B615-297A3F2CD13F}"/>
    <dgm:cxn modelId="{D86A8092-3713-400E-81C8-5FB72664EDA9}" srcId="{483B8262-CD69-4F27-8EED-23353C508E40}" destId="{E8B7AD92-E80A-445C-BD27-8A2CF9E668FE}" srcOrd="0" destOrd="0" parTransId="{FB9DEDF9-83D5-4FD4-BE49-BE3E1E0B394D}" sibTransId="{27E9F7FB-B830-446F-8747-DED880242CCE}"/>
    <dgm:cxn modelId="{BBC7DEA1-990A-4AE4-9052-4FA74D4D2757}" type="presOf" srcId="{03B3B8CC-9846-4F0D-BD63-5B7932C97ECF}" destId="{3FDBCA45-45BA-4853-A59C-6D5867B74F37}" srcOrd="0" destOrd="0" presId="urn:microsoft.com/office/officeart/2009/3/layout/StepUpProcess"/>
    <dgm:cxn modelId="{5589E7AA-7D05-48FB-B787-E0DD05336C69}" type="presOf" srcId="{BCD4F0EA-1CED-4172-8724-6F41DD3FEB74}" destId="{C2503566-487B-4EE7-BA26-829967C2BC23}" srcOrd="0" destOrd="0" presId="urn:microsoft.com/office/officeart/2009/3/layout/StepUpProcess"/>
    <dgm:cxn modelId="{1E32ACB4-6F16-42C9-BB99-645A6413C530}" type="presOf" srcId="{E8B7AD92-E80A-445C-BD27-8A2CF9E668FE}" destId="{0E7F6444-318C-4580-872B-74FCC115A64A}" srcOrd="0" destOrd="0" presId="urn:microsoft.com/office/officeart/2009/3/layout/StepUpProcess"/>
    <dgm:cxn modelId="{2CAAC8BA-85D0-4DEF-B344-AA442F2C053B}" type="presOf" srcId="{0D6253C0-1AB7-4A60-8690-394453C976CE}" destId="{C2503566-487B-4EE7-BA26-829967C2BC23}" srcOrd="0" destOrd="2" presId="urn:microsoft.com/office/officeart/2009/3/layout/StepUpProcess"/>
    <dgm:cxn modelId="{F8D637C2-9ED8-4242-8EBD-96EDBCD13FE0}" srcId="{03B3B8CC-9846-4F0D-BD63-5B7932C97ECF}" destId="{3B8C567D-0CF1-4390-825F-2AE6180F6FEB}" srcOrd="1" destOrd="0" parTransId="{720A3AD6-0FF1-441E-947B-8BE4E1A714E9}" sibTransId="{7535E522-1CE5-4283-9DEF-0E91559127D2}"/>
    <dgm:cxn modelId="{B05AD1C4-3CFB-47CA-B36A-B5C1B8091347}" type="presOf" srcId="{3B8C567D-0CF1-4390-825F-2AE6180F6FEB}" destId="{3FDBCA45-45BA-4853-A59C-6D5867B74F37}" srcOrd="0" destOrd="2" presId="urn:microsoft.com/office/officeart/2009/3/layout/StepUpProcess"/>
    <dgm:cxn modelId="{8EEC98C9-3E94-4547-87DB-99B68D105B2B}" srcId="{E8B7AD92-E80A-445C-BD27-8A2CF9E668FE}" destId="{A06B9F07-16E6-46A4-94EB-09155BDD7220}" srcOrd="0" destOrd="0" parTransId="{093BEEDD-1D08-4320-8E96-5E063FE27E45}" sibTransId="{7D467DB9-8729-4879-90D6-E9C3872F1079}"/>
    <dgm:cxn modelId="{BAE811DD-D60C-4BC3-9F56-C60052841077}" srcId="{E8B7AD92-E80A-445C-BD27-8A2CF9E668FE}" destId="{CD0B75E9-A394-4A29-94C9-3DB0947B6278}" srcOrd="2" destOrd="0" parTransId="{E4B282F1-2BD6-4F79-9848-80986D5DA555}" sibTransId="{B9A642DC-039E-4909-8259-134D600D4C52}"/>
    <dgm:cxn modelId="{B762E3E7-CB0E-4423-9028-748A5455024F}" srcId="{483B8262-CD69-4F27-8EED-23353C508E40}" destId="{03B3B8CC-9846-4F0D-BD63-5B7932C97ECF}" srcOrd="2" destOrd="0" parTransId="{92DA6A97-7753-4B35-8992-4F8D204ACE59}" sibTransId="{90FECFC3-3F99-4F2F-A8A7-D56C4A83E99A}"/>
    <dgm:cxn modelId="{68E2866B-C19C-4A1A-A8B2-B33A989081DE}" type="presParOf" srcId="{E705C161-8642-4326-B0C4-6E790046CF6C}" destId="{0A474D3A-E033-4665-AE61-2A12369B7FD6}" srcOrd="0" destOrd="0" presId="urn:microsoft.com/office/officeart/2009/3/layout/StepUpProcess"/>
    <dgm:cxn modelId="{DED94C6F-5427-4883-ADE1-98DE92857C9C}" type="presParOf" srcId="{0A474D3A-E033-4665-AE61-2A12369B7FD6}" destId="{9F6823B8-6EBE-408A-B38C-BB70C2725FE0}" srcOrd="0" destOrd="0" presId="urn:microsoft.com/office/officeart/2009/3/layout/StepUpProcess"/>
    <dgm:cxn modelId="{B1FD4B4A-14F5-4404-BDBB-855B926048D5}" type="presParOf" srcId="{0A474D3A-E033-4665-AE61-2A12369B7FD6}" destId="{0E7F6444-318C-4580-872B-74FCC115A64A}" srcOrd="1" destOrd="0" presId="urn:microsoft.com/office/officeart/2009/3/layout/StepUpProcess"/>
    <dgm:cxn modelId="{967DA7F4-799D-4643-863B-DAF81D84550D}" type="presParOf" srcId="{0A474D3A-E033-4665-AE61-2A12369B7FD6}" destId="{42490036-DDF3-4D41-9962-FB87F5785B1C}" srcOrd="2" destOrd="0" presId="urn:microsoft.com/office/officeart/2009/3/layout/StepUpProcess"/>
    <dgm:cxn modelId="{86A6A379-C11A-4A7A-ADFD-975A7E0A1400}" type="presParOf" srcId="{E705C161-8642-4326-B0C4-6E790046CF6C}" destId="{AC54F832-5E57-4E28-AAE2-FDF08481251C}" srcOrd="1" destOrd="0" presId="urn:microsoft.com/office/officeart/2009/3/layout/StepUpProcess"/>
    <dgm:cxn modelId="{7880EC73-8BE6-425E-BC0D-75D4A6389DD2}" type="presParOf" srcId="{AC54F832-5E57-4E28-AAE2-FDF08481251C}" destId="{A6210788-88BE-44BC-9EA8-E8162E2633BF}" srcOrd="0" destOrd="0" presId="urn:microsoft.com/office/officeart/2009/3/layout/StepUpProcess"/>
    <dgm:cxn modelId="{03212D57-5AB5-4C15-B710-F92F987575E5}" type="presParOf" srcId="{E705C161-8642-4326-B0C4-6E790046CF6C}" destId="{F7CA7878-362A-4B1E-A14E-FDCD33BC566C}" srcOrd="2" destOrd="0" presId="urn:microsoft.com/office/officeart/2009/3/layout/StepUpProcess"/>
    <dgm:cxn modelId="{359AFB49-E0A8-4570-9004-A8F86D3C1EAE}" type="presParOf" srcId="{F7CA7878-362A-4B1E-A14E-FDCD33BC566C}" destId="{A88CA972-930B-4CCF-A613-BBEDF61CC913}" srcOrd="0" destOrd="0" presId="urn:microsoft.com/office/officeart/2009/3/layout/StepUpProcess"/>
    <dgm:cxn modelId="{CAFE0941-15DB-45C4-90C8-45C743FBAF4D}" type="presParOf" srcId="{F7CA7878-362A-4B1E-A14E-FDCD33BC566C}" destId="{C2503566-487B-4EE7-BA26-829967C2BC23}" srcOrd="1" destOrd="0" presId="urn:microsoft.com/office/officeart/2009/3/layout/StepUpProcess"/>
    <dgm:cxn modelId="{B429B275-7E45-4595-8240-9C4B6D23D4F2}" type="presParOf" srcId="{F7CA7878-362A-4B1E-A14E-FDCD33BC566C}" destId="{DCDAF0F3-24B7-4CE1-80A5-42F3BEA5A7A7}" srcOrd="2" destOrd="0" presId="urn:microsoft.com/office/officeart/2009/3/layout/StepUpProcess"/>
    <dgm:cxn modelId="{8827E81C-0F95-4F1F-927C-3A3186BDCC44}" type="presParOf" srcId="{E705C161-8642-4326-B0C4-6E790046CF6C}" destId="{5B0CB9C3-EA89-446D-BFDD-EEFA11DB8320}" srcOrd="3" destOrd="0" presId="urn:microsoft.com/office/officeart/2009/3/layout/StepUpProcess"/>
    <dgm:cxn modelId="{E6677891-79D8-471E-9C98-83EC8D52C5F7}" type="presParOf" srcId="{5B0CB9C3-EA89-446D-BFDD-EEFA11DB8320}" destId="{E1E1E0DF-5FAC-4D7E-9869-5612816FBFCF}" srcOrd="0" destOrd="0" presId="urn:microsoft.com/office/officeart/2009/3/layout/StepUpProcess"/>
    <dgm:cxn modelId="{9869BC45-F1F9-4CE1-9379-4955F851F4DA}" type="presParOf" srcId="{E705C161-8642-4326-B0C4-6E790046CF6C}" destId="{4BB89406-B2BA-4DC9-A48D-787459F5B8CA}" srcOrd="4" destOrd="0" presId="urn:microsoft.com/office/officeart/2009/3/layout/StepUpProcess"/>
    <dgm:cxn modelId="{4F4DA5F5-2B9A-46CE-B1CD-246CCDDAE593}" type="presParOf" srcId="{4BB89406-B2BA-4DC9-A48D-787459F5B8CA}" destId="{A9ADD693-4439-4F68-80F7-5B748821ED68}" srcOrd="0" destOrd="0" presId="urn:microsoft.com/office/officeart/2009/3/layout/StepUpProcess"/>
    <dgm:cxn modelId="{6DE2B57C-07D8-4102-BC0A-83465CE5BB90}" type="presParOf" srcId="{4BB89406-B2BA-4DC9-A48D-787459F5B8CA}" destId="{3FDBCA45-45BA-4853-A59C-6D5867B74F37}"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39281B0-E8E7-400B-94A0-16BA1395C688}" type="doc">
      <dgm:prSet loTypeId="urn:diagrams.loki3.com/BracketList" loCatId="list" qsTypeId="urn:microsoft.com/office/officeart/2005/8/quickstyle/simple2" qsCatId="simple" csTypeId="urn:microsoft.com/office/officeart/2005/8/colors/accent1_1" csCatId="accent1" phldr="1"/>
      <dgm:spPr/>
      <dgm:t>
        <a:bodyPr/>
        <a:lstStyle/>
        <a:p>
          <a:endParaRPr lang="en-AU"/>
        </a:p>
      </dgm:t>
    </dgm:pt>
    <dgm:pt modelId="{75CE3953-44EC-4BD1-92A7-2B9243832397}">
      <dgm:prSet phldrT="[Text]"/>
      <dgm:spPr/>
      <dgm:t>
        <a:bodyPr/>
        <a:lstStyle/>
        <a:p>
          <a:r>
            <a:rPr lang="en-AU" dirty="0"/>
            <a:t>Core Audit Business</a:t>
          </a:r>
        </a:p>
      </dgm:t>
    </dgm:pt>
    <dgm:pt modelId="{7263B264-7063-4A4B-9DD4-FEAD9A4BDA9A}" type="parTrans" cxnId="{6E15BD5B-FA98-4CBF-86A4-107B9B00175C}">
      <dgm:prSet/>
      <dgm:spPr/>
      <dgm:t>
        <a:bodyPr/>
        <a:lstStyle/>
        <a:p>
          <a:endParaRPr lang="en-AU"/>
        </a:p>
      </dgm:t>
    </dgm:pt>
    <dgm:pt modelId="{63709FBA-8044-4BFD-A732-EEC15FCF7DD7}" type="sibTrans" cxnId="{6E15BD5B-FA98-4CBF-86A4-107B9B00175C}">
      <dgm:prSet/>
      <dgm:spPr/>
      <dgm:t>
        <a:bodyPr/>
        <a:lstStyle/>
        <a:p>
          <a:endParaRPr lang="en-AU"/>
        </a:p>
      </dgm:t>
    </dgm:pt>
    <dgm:pt modelId="{E150F75A-40CA-402C-A797-F1DD0C00C007}">
      <dgm:prSet phldrT="[Text]"/>
      <dgm:spPr/>
      <dgm:t>
        <a:bodyPr/>
        <a:lstStyle/>
        <a:p>
          <a:r>
            <a:rPr lang="en-AU" dirty="0"/>
            <a:t>Use previous historical fraudulent cases to predict future transaction</a:t>
          </a:r>
        </a:p>
      </dgm:t>
    </dgm:pt>
    <dgm:pt modelId="{10DA2A42-AA32-4CB1-BC4E-B4276D1F36AE}" type="parTrans" cxnId="{534145C6-5476-4775-A3C8-869A7B19A71B}">
      <dgm:prSet/>
      <dgm:spPr/>
      <dgm:t>
        <a:bodyPr/>
        <a:lstStyle/>
        <a:p>
          <a:endParaRPr lang="en-AU"/>
        </a:p>
      </dgm:t>
    </dgm:pt>
    <dgm:pt modelId="{3BB8BFC4-CBB6-43B0-B5CB-BB1FDC282181}" type="sibTrans" cxnId="{534145C6-5476-4775-A3C8-869A7B19A71B}">
      <dgm:prSet/>
      <dgm:spPr/>
      <dgm:t>
        <a:bodyPr/>
        <a:lstStyle/>
        <a:p>
          <a:endParaRPr lang="en-AU"/>
        </a:p>
      </dgm:t>
    </dgm:pt>
    <dgm:pt modelId="{406632E2-61F9-4DE8-B234-D3C6ED5107D6}">
      <dgm:prSet phldrT="[Text]"/>
      <dgm:spPr/>
      <dgm:t>
        <a:bodyPr/>
        <a:lstStyle/>
        <a:p>
          <a:r>
            <a:rPr lang="en-AU" dirty="0"/>
            <a:t>Audit Supports</a:t>
          </a:r>
        </a:p>
      </dgm:t>
    </dgm:pt>
    <dgm:pt modelId="{62EBF16B-9F6A-4096-9501-2C1DF2EEBA3F}" type="parTrans" cxnId="{CA378A78-42A6-4378-9227-B5542AFB645F}">
      <dgm:prSet/>
      <dgm:spPr/>
      <dgm:t>
        <a:bodyPr/>
        <a:lstStyle/>
        <a:p>
          <a:endParaRPr lang="en-AU"/>
        </a:p>
      </dgm:t>
    </dgm:pt>
    <dgm:pt modelId="{4CB51D93-9530-4AEC-BAB0-C145D44656AD}" type="sibTrans" cxnId="{CA378A78-42A6-4378-9227-B5542AFB645F}">
      <dgm:prSet/>
      <dgm:spPr/>
      <dgm:t>
        <a:bodyPr/>
        <a:lstStyle/>
        <a:p>
          <a:endParaRPr lang="en-AU"/>
        </a:p>
      </dgm:t>
    </dgm:pt>
    <dgm:pt modelId="{C7A2A295-9742-412D-B50A-7C25E7BE811F}">
      <dgm:prSet phldrT="[Text]"/>
      <dgm:spPr/>
      <dgm:t>
        <a:bodyPr/>
        <a:lstStyle/>
        <a:p>
          <a:r>
            <a:rPr lang="en-AU" dirty="0"/>
            <a:t>Usually in form of a supervised learning</a:t>
          </a:r>
        </a:p>
      </dgm:t>
    </dgm:pt>
    <dgm:pt modelId="{ED29040F-120D-431B-90F7-3E6647437048}" type="parTrans" cxnId="{C536E808-35DF-45EE-BDBD-EDB0AAD3D2AB}">
      <dgm:prSet/>
      <dgm:spPr/>
      <dgm:t>
        <a:bodyPr/>
        <a:lstStyle/>
        <a:p>
          <a:endParaRPr lang="en-AU"/>
        </a:p>
      </dgm:t>
    </dgm:pt>
    <dgm:pt modelId="{BE0B1A1F-81F2-45CC-A70B-BD4D3AC5707F}" type="sibTrans" cxnId="{C536E808-35DF-45EE-BDBD-EDB0AAD3D2AB}">
      <dgm:prSet/>
      <dgm:spPr/>
      <dgm:t>
        <a:bodyPr/>
        <a:lstStyle/>
        <a:p>
          <a:endParaRPr lang="en-AU"/>
        </a:p>
      </dgm:t>
    </dgm:pt>
    <dgm:pt modelId="{01CF28EF-5CF2-440A-B909-99104D03F2D8}">
      <dgm:prSet phldrT="[Text]"/>
      <dgm:spPr/>
      <dgm:t>
        <a:bodyPr/>
        <a:lstStyle/>
        <a:p>
          <a:r>
            <a:rPr lang="en-AU" dirty="0"/>
            <a:t>Fraud Detection</a:t>
          </a:r>
        </a:p>
      </dgm:t>
    </dgm:pt>
    <dgm:pt modelId="{5DAEA691-73DB-490A-8290-99588342EBFF}" type="parTrans" cxnId="{E2E336BE-18E2-4891-8534-681A74A032C0}">
      <dgm:prSet/>
      <dgm:spPr/>
      <dgm:t>
        <a:bodyPr/>
        <a:lstStyle/>
        <a:p>
          <a:endParaRPr lang="en-AU"/>
        </a:p>
      </dgm:t>
    </dgm:pt>
    <dgm:pt modelId="{E06CE620-8036-4916-AC56-BFD21E07E87B}" type="sibTrans" cxnId="{E2E336BE-18E2-4891-8534-681A74A032C0}">
      <dgm:prSet/>
      <dgm:spPr/>
      <dgm:t>
        <a:bodyPr/>
        <a:lstStyle/>
        <a:p>
          <a:endParaRPr lang="en-AU"/>
        </a:p>
      </dgm:t>
    </dgm:pt>
    <dgm:pt modelId="{D53C7B0C-89F2-49D5-880E-955D954DDE6D}">
      <dgm:prSet phldrT="[Text]"/>
      <dgm:spPr/>
      <dgm:t>
        <a:bodyPr/>
        <a:lstStyle/>
        <a:p>
          <a:r>
            <a:rPr lang="en-AU" dirty="0"/>
            <a:t>Auditee’s Business Process</a:t>
          </a:r>
        </a:p>
      </dgm:t>
    </dgm:pt>
    <dgm:pt modelId="{F3CE0817-ADDB-4217-B13B-C2B071CF0448}" type="parTrans" cxnId="{1557D068-555B-4F63-AF04-191E6E81A6EB}">
      <dgm:prSet/>
      <dgm:spPr/>
      <dgm:t>
        <a:bodyPr/>
        <a:lstStyle/>
        <a:p>
          <a:endParaRPr lang="en-AU"/>
        </a:p>
      </dgm:t>
    </dgm:pt>
    <dgm:pt modelId="{886FE0AA-B7C6-427E-B533-506636BB99F4}" type="sibTrans" cxnId="{1557D068-555B-4F63-AF04-191E6E81A6EB}">
      <dgm:prSet/>
      <dgm:spPr/>
      <dgm:t>
        <a:bodyPr/>
        <a:lstStyle/>
        <a:p>
          <a:endParaRPr lang="en-AU"/>
        </a:p>
      </dgm:t>
    </dgm:pt>
    <dgm:pt modelId="{5F333194-AA49-4301-8012-92A859994919}">
      <dgm:prSet phldrT="[Text]"/>
      <dgm:spPr/>
      <dgm:t>
        <a:bodyPr/>
        <a:lstStyle/>
        <a:p>
          <a:r>
            <a:rPr lang="en-AU" dirty="0"/>
            <a:t>Topic modelling</a:t>
          </a:r>
        </a:p>
      </dgm:t>
    </dgm:pt>
    <dgm:pt modelId="{E0B5B09F-F26E-40D5-A180-EC39B885E965}" type="parTrans" cxnId="{983245A3-6E4D-4510-9D7B-CDC9B5A83FCE}">
      <dgm:prSet/>
      <dgm:spPr/>
      <dgm:t>
        <a:bodyPr/>
        <a:lstStyle/>
        <a:p>
          <a:endParaRPr lang="en-AU"/>
        </a:p>
      </dgm:t>
    </dgm:pt>
    <dgm:pt modelId="{75CC962F-3A3C-43E2-9066-DADC3056A0BD}" type="sibTrans" cxnId="{983245A3-6E4D-4510-9D7B-CDC9B5A83FCE}">
      <dgm:prSet/>
      <dgm:spPr/>
      <dgm:t>
        <a:bodyPr/>
        <a:lstStyle/>
        <a:p>
          <a:endParaRPr lang="en-AU"/>
        </a:p>
      </dgm:t>
    </dgm:pt>
    <dgm:pt modelId="{65C853C9-966B-4E31-BD02-36E7865E4E62}">
      <dgm:prSet phldrT="[Text]"/>
      <dgm:spPr/>
      <dgm:t>
        <a:bodyPr/>
        <a:lstStyle/>
        <a:p>
          <a:r>
            <a:rPr lang="en-AU" dirty="0"/>
            <a:t>Data Extraction from documents</a:t>
          </a:r>
        </a:p>
      </dgm:t>
    </dgm:pt>
    <dgm:pt modelId="{4915CAA0-66BE-48CA-A4CD-7277629B028A}" type="parTrans" cxnId="{DCED1866-46DC-49C7-963D-6D5A6E23D412}">
      <dgm:prSet/>
      <dgm:spPr/>
      <dgm:t>
        <a:bodyPr/>
        <a:lstStyle/>
        <a:p>
          <a:endParaRPr lang="en-AU"/>
        </a:p>
      </dgm:t>
    </dgm:pt>
    <dgm:pt modelId="{70EFFDAB-561C-405D-8DB1-DF9879A421AB}" type="sibTrans" cxnId="{DCED1866-46DC-49C7-963D-6D5A6E23D412}">
      <dgm:prSet/>
      <dgm:spPr/>
      <dgm:t>
        <a:bodyPr/>
        <a:lstStyle/>
        <a:p>
          <a:endParaRPr lang="en-AU"/>
        </a:p>
      </dgm:t>
    </dgm:pt>
    <dgm:pt modelId="{8A3325D5-38F4-4F70-AB75-A3D3D7A47D66}">
      <dgm:prSet phldrT="[Text]"/>
      <dgm:spPr/>
      <dgm:t>
        <a:bodyPr/>
        <a:lstStyle/>
        <a:p>
          <a:r>
            <a:rPr lang="en-AU" dirty="0"/>
            <a:t>Makes auditing tasks easier</a:t>
          </a:r>
        </a:p>
      </dgm:t>
    </dgm:pt>
    <dgm:pt modelId="{9A984697-F5AB-457D-B5D1-0BF30DEFB817}" type="parTrans" cxnId="{479DD0B6-B450-44BD-9C70-0A99F490A6E3}">
      <dgm:prSet/>
      <dgm:spPr/>
      <dgm:t>
        <a:bodyPr/>
        <a:lstStyle/>
        <a:p>
          <a:endParaRPr lang="en-AU"/>
        </a:p>
      </dgm:t>
    </dgm:pt>
    <dgm:pt modelId="{6984C530-3257-4CDC-8B9F-7AAA6030C332}" type="sibTrans" cxnId="{479DD0B6-B450-44BD-9C70-0A99F490A6E3}">
      <dgm:prSet/>
      <dgm:spPr/>
      <dgm:t>
        <a:bodyPr/>
        <a:lstStyle/>
        <a:p>
          <a:endParaRPr lang="en-AU"/>
        </a:p>
      </dgm:t>
    </dgm:pt>
    <dgm:pt modelId="{B9CCFE98-C69D-42A5-BD4C-C9482C435552}">
      <dgm:prSet phldrT="[Text]"/>
      <dgm:spPr/>
      <dgm:t>
        <a:bodyPr/>
        <a:lstStyle/>
        <a:p>
          <a:r>
            <a:rPr lang="en-AU" dirty="0"/>
            <a:t>Auditor is being a consultant</a:t>
          </a:r>
        </a:p>
      </dgm:t>
    </dgm:pt>
    <dgm:pt modelId="{88053BDD-63E0-4D4B-B65A-0AA6C2FE927C}" type="parTrans" cxnId="{5882E1AF-EAAA-4649-BFAB-4601EA81D655}">
      <dgm:prSet/>
      <dgm:spPr/>
      <dgm:t>
        <a:bodyPr/>
        <a:lstStyle/>
        <a:p>
          <a:endParaRPr lang="en-AU"/>
        </a:p>
      </dgm:t>
    </dgm:pt>
    <dgm:pt modelId="{5BB88E82-2FB4-4747-831F-7C4DA625BABF}" type="sibTrans" cxnId="{5882E1AF-EAAA-4649-BFAB-4601EA81D655}">
      <dgm:prSet/>
      <dgm:spPr/>
      <dgm:t>
        <a:bodyPr/>
        <a:lstStyle/>
        <a:p>
          <a:endParaRPr lang="en-AU"/>
        </a:p>
      </dgm:t>
    </dgm:pt>
    <dgm:pt modelId="{0F0B42AA-FAF9-4C99-BE0B-31A43C26E66A}">
      <dgm:prSet phldrT="[Text]"/>
      <dgm:spPr/>
      <dgm:t>
        <a:bodyPr/>
        <a:lstStyle/>
        <a:p>
          <a:r>
            <a:rPr lang="en-AU" dirty="0"/>
            <a:t>Applied only on organization’s Internal Audit</a:t>
          </a:r>
        </a:p>
      </dgm:t>
    </dgm:pt>
    <dgm:pt modelId="{626FEED8-4AF9-43F6-91BD-C3F75E1A93DE}" type="parTrans" cxnId="{9C4F355E-F93F-4CA7-9B4D-262B545FE503}">
      <dgm:prSet/>
      <dgm:spPr/>
      <dgm:t>
        <a:bodyPr/>
        <a:lstStyle/>
        <a:p>
          <a:endParaRPr lang="en-AU"/>
        </a:p>
      </dgm:t>
    </dgm:pt>
    <dgm:pt modelId="{9561E404-4CC2-4BE7-90F1-C51F61979F51}" type="sibTrans" cxnId="{9C4F355E-F93F-4CA7-9B4D-262B545FE503}">
      <dgm:prSet/>
      <dgm:spPr/>
      <dgm:t>
        <a:bodyPr/>
        <a:lstStyle/>
        <a:p>
          <a:endParaRPr lang="en-AU"/>
        </a:p>
      </dgm:t>
    </dgm:pt>
    <dgm:pt modelId="{F5BA84A1-AA4F-45B0-A6D6-7CBF73EFAF21}">
      <dgm:prSet phldrT="[Text]"/>
      <dgm:spPr/>
      <dgm:t>
        <a:bodyPr/>
        <a:lstStyle/>
        <a:p>
          <a:r>
            <a:rPr lang="en-AU" dirty="0"/>
            <a:t>Propose a ML approach to do business</a:t>
          </a:r>
        </a:p>
      </dgm:t>
    </dgm:pt>
    <dgm:pt modelId="{B86C7A73-1884-4519-8C5A-5281D913EEAB}" type="parTrans" cxnId="{A47C90DD-7E4A-4917-A156-0ABA28AE9A1A}">
      <dgm:prSet/>
      <dgm:spPr/>
      <dgm:t>
        <a:bodyPr/>
        <a:lstStyle/>
        <a:p>
          <a:endParaRPr lang="en-AU"/>
        </a:p>
      </dgm:t>
    </dgm:pt>
    <dgm:pt modelId="{E8559930-C1FE-4CA9-B320-334A31CC7A7F}" type="sibTrans" cxnId="{A47C90DD-7E4A-4917-A156-0ABA28AE9A1A}">
      <dgm:prSet/>
      <dgm:spPr/>
      <dgm:t>
        <a:bodyPr/>
        <a:lstStyle/>
        <a:p>
          <a:endParaRPr lang="en-AU"/>
        </a:p>
      </dgm:t>
    </dgm:pt>
    <dgm:pt modelId="{33085643-1EEE-49B4-8D7C-013331FBBB34}" type="pres">
      <dgm:prSet presAssocID="{839281B0-E8E7-400B-94A0-16BA1395C688}" presName="Name0" presStyleCnt="0">
        <dgm:presLayoutVars>
          <dgm:dir/>
          <dgm:animLvl val="lvl"/>
          <dgm:resizeHandles val="exact"/>
        </dgm:presLayoutVars>
      </dgm:prSet>
      <dgm:spPr/>
    </dgm:pt>
    <dgm:pt modelId="{813C3E18-3C62-4C3F-8529-16D10EE5FB11}" type="pres">
      <dgm:prSet presAssocID="{75CE3953-44EC-4BD1-92A7-2B9243832397}" presName="linNode" presStyleCnt="0"/>
      <dgm:spPr/>
    </dgm:pt>
    <dgm:pt modelId="{E3199846-EC93-4FB5-9656-FCA210D41817}" type="pres">
      <dgm:prSet presAssocID="{75CE3953-44EC-4BD1-92A7-2B9243832397}" presName="parTx" presStyleLbl="revTx" presStyleIdx="0" presStyleCnt="3">
        <dgm:presLayoutVars>
          <dgm:chMax val="1"/>
          <dgm:bulletEnabled val="1"/>
        </dgm:presLayoutVars>
      </dgm:prSet>
      <dgm:spPr/>
    </dgm:pt>
    <dgm:pt modelId="{3D1374EA-7C76-4A1E-BEF4-AEFB421E9F10}" type="pres">
      <dgm:prSet presAssocID="{75CE3953-44EC-4BD1-92A7-2B9243832397}" presName="bracket" presStyleLbl="parChTrans1D1" presStyleIdx="0" presStyleCnt="3"/>
      <dgm:spPr/>
    </dgm:pt>
    <dgm:pt modelId="{CEC9E8B8-351A-429E-A890-A9B28A78D92A}" type="pres">
      <dgm:prSet presAssocID="{75CE3953-44EC-4BD1-92A7-2B9243832397}" presName="spH" presStyleCnt="0"/>
      <dgm:spPr/>
    </dgm:pt>
    <dgm:pt modelId="{4953622C-1623-46C6-BDFE-A6D903B5A7FD}" type="pres">
      <dgm:prSet presAssocID="{75CE3953-44EC-4BD1-92A7-2B9243832397}" presName="desTx" presStyleLbl="node1" presStyleIdx="0" presStyleCnt="3">
        <dgm:presLayoutVars>
          <dgm:bulletEnabled val="1"/>
        </dgm:presLayoutVars>
      </dgm:prSet>
      <dgm:spPr/>
    </dgm:pt>
    <dgm:pt modelId="{473392F7-4369-4F84-8C07-3C5E680EF24C}" type="pres">
      <dgm:prSet presAssocID="{63709FBA-8044-4BFD-A732-EEC15FCF7DD7}" presName="spV" presStyleCnt="0"/>
      <dgm:spPr/>
    </dgm:pt>
    <dgm:pt modelId="{68430EB9-0207-4DE2-9596-F61E50C5964D}" type="pres">
      <dgm:prSet presAssocID="{406632E2-61F9-4DE8-B234-D3C6ED5107D6}" presName="linNode" presStyleCnt="0"/>
      <dgm:spPr/>
    </dgm:pt>
    <dgm:pt modelId="{9A327DAF-86A9-4EEB-B1E9-414171852A7C}" type="pres">
      <dgm:prSet presAssocID="{406632E2-61F9-4DE8-B234-D3C6ED5107D6}" presName="parTx" presStyleLbl="revTx" presStyleIdx="1" presStyleCnt="3">
        <dgm:presLayoutVars>
          <dgm:chMax val="1"/>
          <dgm:bulletEnabled val="1"/>
        </dgm:presLayoutVars>
      </dgm:prSet>
      <dgm:spPr/>
    </dgm:pt>
    <dgm:pt modelId="{0A06CF6D-74DC-4C4F-9C31-F5AAC2394308}" type="pres">
      <dgm:prSet presAssocID="{406632E2-61F9-4DE8-B234-D3C6ED5107D6}" presName="bracket" presStyleLbl="parChTrans1D1" presStyleIdx="1" presStyleCnt="3"/>
      <dgm:spPr/>
    </dgm:pt>
    <dgm:pt modelId="{15FB81A4-57EB-44DB-BF66-F4D5F95A8441}" type="pres">
      <dgm:prSet presAssocID="{406632E2-61F9-4DE8-B234-D3C6ED5107D6}" presName="spH" presStyleCnt="0"/>
      <dgm:spPr/>
    </dgm:pt>
    <dgm:pt modelId="{B7DA7D85-A5FD-4449-964E-FDB94442B648}" type="pres">
      <dgm:prSet presAssocID="{406632E2-61F9-4DE8-B234-D3C6ED5107D6}" presName="desTx" presStyleLbl="node1" presStyleIdx="1" presStyleCnt="3">
        <dgm:presLayoutVars>
          <dgm:bulletEnabled val="1"/>
        </dgm:presLayoutVars>
      </dgm:prSet>
      <dgm:spPr/>
    </dgm:pt>
    <dgm:pt modelId="{F342EC13-F825-41CA-A669-42E4F574537F}" type="pres">
      <dgm:prSet presAssocID="{4CB51D93-9530-4AEC-BAB0-C145D44656AD}" presName="spV" presStyleCnt="0"/>
      <dgm:spPr/>
    </dgm:pt>
    <dgm:pt modelId="{E9C23C82-8531-4FC2-B884-757F62B7652E}" type="pres">
      <dgm:prSet presAssocID="{D53C7B0C-89F2-49D5-880E-955D954DDE6D}" presName="linNode" presStyleCnt="0"/>
      <dgm:spPr/>
    </dgm:pt>
    <dgm:pt modelId="{1B1F7189-144C-4C73-B2F7-FC337EFFA929}" type="pres">
      <dgm:prSet presAssocID="{D53C7B0C-89F2-49D5-880E-955D954DDE6D}" presName="parTx" presStyleLbl="revTx" presStyleIdx="2" presStyleCnt="3">
        <dgm:presLayoutVars>
          <dgm:chMax val="1"/>
          <dgm:bulletEnabled val="1"/>
        </dgm:presLayoutVars>
      </dgm:prSet>
      <dgm:spPr/>
    </dgm:pt>
    <dgm:pt modelId="{6761E4E8-7175-4F57-972E-144C94EE76F1}" type="pres">
      <dgm:prSet presAssocID="{D53C7B0C-89F2-49D5-880E-955D954DDE6D}" presName="bracket" presStyleLbl="parChTrans1D1" presStyleIdx="2" presStyleCnt="3"/>
      <dgm:spPr/>
    </dgm:pt>
    <dgm:pt modelId="{705B749F-7325-4A67-AD38-FACBA5C2E2A7}" type="pres">
      <dgm:prSet presAssocID="{D53C7B0C-89F2-49D5-880E-955D954DDE6D}" presName="spH" presStyleCnt="0"/>
      <dgm:spPr/>
    </dgm:pt>
    <dgm:pt modelId="{1A5B2B8A-0615-482E-AFDE-CD24296CDD11}" type="pres">
      <dgm:prSet presAssocID="{D53C7B0C-89F2-49D5-880E-955D954DDE6D}" presName="desTx" presStyleLbl="node1" presStyleIdx="2" presStyleCnt="3">
        <dgm:presLayoutVars>
          <dgm:bulletEnabled val="1"/>
        </dgm:presLayoutVars>
      </dgm:prSet>
      <dgm:spPr/>
    </dgm:pt>
  </dgm:ptLst>
  <dgm:cxnLst>
    <dgm:cxn modelId="{C536E808-35DF-45EE-BDBD-EDB0AAD3D2AB}" srcId="{75CE3953-44EC-4BD1-92A7-2B9243832397}" destId="{C7A2A295-9742-412D-B50A-7C25E7BE811F}" srcOrd="2" destOrd="0" parTransId="{ED29040F-120D-431B-90F7-3E6647437048}" sibTransId="{BE0B1A1F-81F2-45CC-A70B-BD4D3AC5707F}"/>
    <dgm:cxn modelId="{00C13714-A585-4E16-9BD8-A0DF4296D4ED}" type="presOf" srcId="{406632E2-61F9-4DE8-B234-D3C6ED5107D6}" destId="{9A327DAF-86A9-4EEB-B1E9-414171852A7C}" srcOrd="0" destOrd="0" presId="urn:diagrams.loki3.com/BracketList"/>
    <dgm:cxn modelId="{12E92015-4C53-4EC9-BB36-77E0C7031D36}" type="presOf" srcId="{D53C7B0C-89F2-49D5-880E-955D954DDE6D}" destId="{1B1F7189-144C-4C73-B2F7-FC337EFFA929}" srcOrd="0" destOrd="0" presId="urn:diagrams.loki3.com/BracketList"/>
    <dgm:cxn modelId="{1410D12D-9C6C-4A50-8DFD-4870873599E7}" type="presOf" srcId="{F5BA84A1-AA4F-45B0-A6D6-7CBF73EFAF21}" destId="{1A5B2B8A-0615-482E-AFDE-CD24296CDD11}" srcOrd="0" destOrd="1" presId="urn:diagrams.loki3.com/BracketList"/>
    <dgm:cxn modelId="{6E15BD5B-FA98-4CBF-86A4-107B9B00175C}" srcId="{839281B0-E8E7-400B-94A0-16BA1395C688}" destId="{75CE3953-44EC-4BD1-92A7-2B9243832397}" srcOrd="0" destOrd="0" parTransId="{7263B264-7063-4A4B-9DD4-FEAD9A4BDA9A}" sibTransId="{63709FBA-8044-4BFD-A732-EEC15FCF7DD7}"/>
    <dgm:cxn modelId="{9C4F355E-F93F-4CA7-9B4D-262B545FE503}" srcId="{D53C7B0C-89F2-49D5-880E-955D954DDE6D}" destId="{0F0B42AA-FAF9-4C99-BE0B-31A43C26E66A}" srcOrd="2" destOrd="0" parTransId="{626FEED8-4AF9-43F6-91BD-C3F75E1A93DE}" sibTransId="{9561E404-4CC2-4BE7-90F1-C51F61979F51}"/>
    <dgm:cxn modelId="{DCED1866-46DC-49C7-963D-6D5A6E23D412}" srcId="{406632E2-61F9-4DE8-B234-D3C6ED5107D6}" destId="{65C853C9-966B-4E31-BD02-36E7865E4E62}" srcOrd="1" destOrd="0" parTransId="{4915CAA0-66BE-48CA-A4CD-7277629B028A}" sibTransId="{70EFFDAB-561C-405D-8DB1-DF9879A421AB}"/>
    <dgm:cxn modelId="{1557D068-555B-4F63-AF04-191E6E81A6EB}" srcId="{839281B0-E8E7-400B-94A0-16BA1395C688}" destId="{D53C7B0C-89F2-49D5-880E-955D954DDE6D}" srcOrd="2" destOrd="0" parTransId="{F3CE0817-ADDB-4217-B13B-C2B071CF0448}" sibTransId="{886FE0AA-B7C6-427E-B533-506636BB99F4}"/>
    <dgm:cxn modelId="{C073FF6F-BC25-43B5-82FD-32BB02660289}" type="presOf" srcId="{C7A2A295-9742-412D-B50A-7C25E7BE811F}" destId="{4953622C-1623-46C6-BDFE-A6D903B5A7FD}" srcOrd="0" destOrd="2" presId="urn:diagrams.loki3.com/BracketList"/>
    <dgm:cxn modelId="{D8B9AB51-8286-414E-94C8-5A592FDEDE14}" type="presOf" srcId="{839281B0-E8E7-400B-94A0-16BA1395C688}" destId="{33085643-1EEE-49B4-8D7C-013331FBBB34}" srcOrd="0" destOrd="0" presId="urn:diagrams.loki3.com/BracketList"/>
    <dgm:cxn modelId="{36866155-6855-4B0D-88DB-10C6F4AA41C9}" type="presOf" srcId="{E150F75A-40CA-402C-A797-F1DD0C00C007}" destId="{4953622C-1623-46C6-BDFE-A6D903B5A7FD}" srcOrd="0" destOrd="1" presId="urn:diagrams.loki3.com/BracketList"/>
    <dgm:cxn modelId="{487B4677-53A4-4B7F-A2F9-30F3321B3848}" type="presOf" srcId="{65C853C9-966B-4E31-BD02-36E7865E4E62}" destId="{B7DA7D85-A5FD-4449-964E-FDB94442B648}" srcOrd="0" destOrd="1" presId="urn:diagrams.loki3.com/BracketList"/>
    <dgm:cxn modelId="{9CA6E477-6063-4621-B00C-559491FEEE10}" type="presOf" srcId="{75CE3953-44EC-4BD1-92A7-2B9243832397}" destId="{E3199846-EC93-4FB5-9656-FCA210D41817}" srcOrd="0" destOrd="0" presId="urn:diagrams.loki3.com/BracketList"/>
    <dgm:cxn modelId="{CA378A78-42A6-4378-9227-B5542AFB645F}" srcId="{839281B0-E8E7-400B-94A0-16BA1395C688}" destId="{406632E2-61F9-4DE8-B234-D3C6ED5107D6}" srcOrd="1" destOrd="0" parTransId="{62EBF16B-9F6A-4096-9501-2C1DF2EEBA3F}" sibTransId="{4CB51D93-9530-4AEC-BAB0-C145D44656AD}"/>
    <dgm:cxn modelId="{CAF2E259-FBFE-463B-AB50-9A4B5AA6FEF3}" type="presOf" srcId="{8A3325D5-38F4-4F70-AB75-A3D3D7A47D66}" destId="{B7DA7D85-A5FD-4449-964E-FDB94442B648}" srcOrd="0" destOrd="2" presId="urn:diagrams.loki3.com/BracketList"/>
    <dgm:cxn modelId="{983245A3-6E4D-4510-9D7B-CDC9B5A83FCE}" srcId="{406632E2-61F9-4DE8-B234-D3C6ED5107D6}" destId="{5F333194-AA49-4301-8012-92A859994919}" srcOrd="0" destOrd="0" parTransId="{E0B5B09F-F26E-40D5-A180-EC39B885E965}" sibTransId="{75CC962F-3A3C-43E2-9066-DADC3056A0BD}"/>
    <dgm:cxn modelId="{3F07C7AF-6A3A-48D7-BA0C-C87F5928A38F}" type="presOf" srcId="{5F333194-AA49-4301-8012-92A859994919}" destId="{B7DA7D85-A5FD-4449-964E-FDB94442B648}" srcOrd="0" destOrd="0" presId="urn:diagrams.loki3.com/BracketList"/>
    <dgm:cxn modelId="{5882E1AF-EAAA-4649-BFAB-4601EA81D655}" srcId="{D53C7B0C-89F2-49D5-880E-955D954DDE6D}" destId="{B9CCFE98-C69D-42A5-BD4C-C9482C435552}" srcOrd="0" destOrd="0" parTransId="{88053BDD-63E0-4D4B-B65A-0AA6C2FE927C}" sibTransId="{5BB88E82-2FB4-4747-831F-7C4DA625BABF}"/>
    <dgm:cxn modelId="{479DD0B6-B450-44BD-9C70-0A99F490A6E3}" srcId="{406632E2-61F9-4DE8-B234-D3C6ED5107D6}" destId="{8A3325D5-38F4-4F70-AB75-A3D3D7A47D66}" srcOrd="2" destOrd="0" parTransId="{9A984697-F5AB-457D-B5D1-0BF30DEFB817}" sibTransId="{6984C530-3257-4CDC-8B9F-7AAA6030C332}"/>
    <dgm:cxn modelId="{E2E336BE-18E2-4891-8534-681A74A032C0}" srcId="{75CE3953-44EC-4BD1-92A7-2B9243832397}" destId="{01CF28EF-5CF2-440A-B909-99104D03F2D8}" srcOrd="0" destOrd="0" parTransId="{5DAEA691-73DB-490A-8290-99588342EBFF}" sibTransId="{E06CE620-8036-4916-AC56-BFD21E07E87B}"/>
    <dgm:cxn modelId="{534145C6-5476-4775-A3C8-869A7B19A71B}" srcId="{75CE3953-44EC-4BD1-92A7-2B9243832397}" destId="{E150F75A-40CA-402C-A797-F1DD0C00C007}" srcOrd="1" destOrd="0" parTransId="{10DA2A42-AA32-4CB1-BC4E-B4276D1F36AE}" sibTransId="{3BB8BFC4-CBB6-43B0-B5CB-BB1FDC282181}"/>
    <dgm:cxn modelId="{D81191DA-7654-4207-B4E5-4AE97806297B}" type="presOf" srcId="{01CF28EF-5CF2-440A-B909-99104D03F2D8}" destId="{4953622C-1623-46C6-BDFE-A6D903B5A7FD}" srcOrd="0" destOrd="0" presId="urn:diagrams.loki3.com/BracketList"/>
    <dgm:cxn modelId="{992939DD-D138-462A-A0B4-50B4CAAA23EB}" type="presOf" srcId="{0F0B42AA-FAF9-4C99-BE0B-31A43C26E66A}" destId="{1A5B2B8A-0615-482E-AFDE-CD24296CDD11}" srcOrd="0" destOrd="2" presId="urn:diagrams.loki3.com/BracketList"/>
    <dgm:cxn modelId="{A47C90DD-7E4A-4917-A156-0ABA28AE9A1A}" srcId="{D53C7B0C-89F2-49D5-880E-955D954DDE6D}" destId="{F5BA84A1-AA4F-45B0-A6D6-7CBF73EFAF21}" srcOrd="1" destOrd="0" parTransId="{B86C7A73-1884-4519-8C5A-5281D913EEAB}" sibTransId="{E8559930-C1FE-4CA9-B320-334A31CC7A7F}"/>
    <dgm:cxn modelId="{B7139BEF-FD07-4E36-B6C2-2A5DC726A239}" type="presOf" srcId="{B9CCFE98-C69D-42A5-BD4C-C9482C435552}" destId="{1A5B2B8A-0615-482E-AFDE-CD24296CDD11}" srcOrd="0" destOrd="0" presId="urn:diagrams.loki3.com/BracketList"/>
    <dgm:cxn modelId="{C80C072B-A9CA-4815-9063-CE20AB6F66D1}" type="presParOf" srcId="{33085643-1EEE-49B4-8D7C-013331FBBB34}" destId="{813C3E18-3C62-4C3F-8529-16D10EE5FB11}" srcOrd="0" destOrd="0" presId="urn:diagrams.loki3.com/BracketList"/>
    <dgm:cxn modelId="{7441465C-5797-42D3-B71B-0AF7B779ED00}" type="presParOf" srcId="{813C3E18-3C62-4C3F-8529-16D10EE5FB11}" destId="{E3199846-EC93-4FB5-9656-FCA210D41817}" srcOrd="0" destOrd="0" presId="urn:diagrams.loki3.com/BracketList"/>
    <dgm:cxn modelId="{C57E89CE-D0CB-470D-9C9B-59BF3B4596CC}" type="presParOf" srcId="{813C3E18-3C62-4C3F-8529-16D10EE5FB11}" destId="{3D1374EA-7C76-4A1E-BEF4-AEFB421E9F10}" srcOrd="1" destOrd="0" presId="urn:diagrams.loki3.com/BracketList"/>
    <dgm:cxn modelId="{CE1B82D9-FB8A-4CC1-A70E-7367A8737211}" type="presParOf" srcId="{813C3E18-3C62-4C3F-8529-16D10EE5FB11}" destId="{CEC9E8B8-351A-429E-A890-A9B28A78D92A}" srcOrd="2" destOrd="0" presId="urn:diagrams.loki3.com/BracketList"/>
    <dgm:cxn modelId="{80B517BC-ADFF-4673-BB35-84AA1C06C3C3}" type="presParOf" srcId="{813C3E18-3C62-4C3F-8529-16D10EE5FB11}" destId="{4953622C-1623-46C6-BDFE-A6D903B5A7FD}" srcOrd="3" destOrd="0" presId="urn:diagrams.loki3.com/BracketList"/>
    <dgm:cxn modelId="{9C651FD7-5203-45D7-A93C-DBB4829D42A8}" type="presParOf" srcId="{33085643-1EEE-49B4-8D7C-013331FBBB34}" destId="{473392F7-4369-4F84-8C07-3C5E680EF24C}" srcOrd="1" destOrd="0" presId="urn:diagrams.loki3.com/BracketList"/>
    <dgm:cxn modelId="{5B2667E2-A931-4FD7-A9DB-BF36259FC64F}" type="presParOf" srcId="{33085643-1EEE-49B4-8D7C-013331FBBB34}" destId="{68430EB9-0207-4DE2-9596-F61E50C5964D}" srcOrd="2" destOrd="0" presId="urn:diagrams.loki3.com/BracketList"/>
    <dgm:cxn modelId="{BB679A84-A03B-407B-91CD-CADA5CBFF2B8}" type="presParOf" srcId="{68430EB9-0207-4DE2-9596-F61E50C5964D}" destId="{9A327DAF-86A9-4EEB-B1E9-414171852A7C}" srcOrd="0" destOrd="0" presId="urn:diagrams.loki3.com/BracketList"/>
    <dgm:cxn modelId="{BB5EDBE7-66B3-408F-849A-B8B56666DB1E}" type="presParOf" srcId="{68430EB9-0207-4DE2-9596-F61E50C5964D}" destId="{0A06CF6D-74DC-4C4F-9C31-F5AAC2394308}" srcOrd="1" destOrd="0" presId="urn:diagrams.loki3.com/BracketList"/>
    <dgm:cxn modelId="{8A333A8F-18D7-4550-B220-AE7A98A0F29A}" type="presParOf" srcId="{68430EB9-0207-4DE2-9596-F61E50C5964D}" destId="{15FB81A4-57EB-44DB-BF66-F4D5F95A8441}" srcOrd="2" destOrd="0" presId="urn:diagrams.loki3.com/BracketList"/>
    <dgm:cxn modelId="{E8B51ACA-3F35-439B-8E27-1701258340F1}" type="presParOf" srcId="{68430EB9-0207-4DE2-9596-F61E50C5964D}" destId="{B7DA7D85-A5FD-4449-964E-FDB94442B648}" srcOrd="3" destOrd="0" presId="urn:diagrams.loki3.com/BracketList"/>
    <dgm:cxn modelId="{9707A8D2-44DB-43FF-AF3E-1CB4AF18EB24}" type="presParOf" srcId="{33085643-1EEE-49B4-8D7C-013331FBBB34}" destId="{F342EC13-F825-41CA-A669-42E4F574537F}" srcOrd="3" destOrd="0" presId="urn:diagrams.loki3.com/BracketList"/>
    <dgm:cxn modelId="{4A6F28A1-944B-471B-8F33-7A96C9920312}" type="presParOf" srcId="{33085643-1EEE-49B4-8D7C-013331FBBB34}" destId="{E9C23C82-8531-4FC2-B884-757F62B7652E}" srcOrd="4" destOrd="0" presId="urn:diagrams.loki3.com/BracketList"/>
    <dgm:cxn modelId="{9CA2FE36-113B-425E-A5EB-B19988E3EA27}" type="presParOf" srcId="{E9C23C82-8531-4FC2-B884-757F62B7652E}" destId="{1B1F7189-144C-4C73-B2F7-FC337EFFA929}" srcOrd="0" destOrd="0" presId="urn:diagrams.loki3.com/BracketList"/>
    <dgm:cxn modelId="{442F231D-4A1A-4359-944D-72BF643CD6A9}" type="presParOf" srcId="{E9C23C82-8531-4FC2-B884-757F62B7652E}" destId="{6761E4E8-7175-4F57-972E-144C94EE76F1}" srcOrd="1" destOrd="0" presId="urn:diagrams.loki3.com/BracketList"/>
    <dgm:cxn modelId="{D01FF741-F20B-4469-9EDB-5F8F87C35177}" type="presParOf" srcId="{E9C23C82-8531-4FC2-B884-757F62B7652E}" destId="{705B749F-7325-4A67-AD38-FACBA5C2E2A7}" srcOrd="2" destOrd="0" presId="urn:diagrams.loki3.com/BracketList"/>
    <dgm:cxn modelId="{6B396E41-7ED0-4A9E-941E-9D163BD0F063}" type="presParOf" srcId="{E9C23C82-8531-4FC2-B884-757F62B7652E}" destId="{1A5B2B8A-0615-482E-AFDE-CD24296CDD11}"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F1058-43AB-4667-B4DC-1658D739F731}">
      <dsp:nvSpPr>
        <dsp:cNvPr id="0" name=""/>
        <dsp:cNvSpPr/>
      </dsp:nvSpPr>
      <dsp:spPr>
        <a:xfrm>
          <a:off x="3123308" y="881900"/>
          <a:ext cx="678811" cy="91440"/>
        </a:xfrm>
        <a:custGeom>
          <a:avLst/>
          <a:gdLst/>
          <a:ahLst/>
          <a:cxnLst/>
          <a:rect l="0" t="0" r="0" b="0"/>
          <a:pathLst>
            <a:path>
              <a:moveTo>
                <a:pt x="0" y="45720"/>
              </a:moveTo>
              <a:lnTo>
                <a:pt x="678811" y="45720"/>
              </a:lnTo>
            </a:path>
          </a:pathLst>
        </a:custGeom>
        <a:noFill/>
        <a:ln w="9525" cap="flat"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D" sz="500" kern="1200">
            <a:latin typeface="Segoe UI" panose="020B0502040204020203" pitchFamily="34" charset="0"/>
            <a:cs typeface="Segoe UI" panose="020B0502040204020203" pitchFamily="34" charset="0"/>
          </a:endParaRPr>
        </a:p>
      </dsp:txBody>
      <dsp:txXfrm>
        <a:off x="3444978" y="924069"/>
        <a:ext cx="35470" cy="7101"/>
      </dsp:txXfrm>
    </dsp:sp>
    <dsp:sp modelId="{23DF649B-73E6-4BDE-941C-A4EFCA6716C8}">
      <dsp:nvSpPr>
        <dsp:cNvPr id="0" name=""/>
        <dsp:cNvSpPr/>
      </dsp:nvSpPr>
      <dsp:spPr>
        <a:xfrm>
          <a:off x="40710" y="2300"/>
          <a:ext cx="3084397" cy="1850638"/>
        </a:xfrm>
        <a:prstGeom prst="rect">
          <a:avLst/>
        </a:prstGeom>
        <a:solidFill>
          <a:schemeClr val="tx1">
            <a:lumMod val="75000"/>
            <a:lumOff val="25000"/>
          </a:schemeClr>
        </a:solidFill>
        <a:ln w="25400" cap="flat" cmpd="sng" algn="ctr">
          <a:no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dirty="0" err="1">
              <a:solidFill>
                <a:schemeClr val="bg1"/>
              </a:solidFill>
              <a:latin typeface="Segoe UI" panose="020B0502040204020203" pitchFamily="34" charset="0"/>
              <a:cs typeface="Segoe UI" panose="020B0502040204020203" pitchFamily="34" charset="0"/>
            </a:rPr>
            <a:t>Analisis</a:t>
          </a:r>
          <a:r>
            <a:rPr lang="en-US" sz="2000" b="1" kern="1200" dirty="0">
              <a:solidFill>
                <a:schemeClr val="bg1"/>
              </a:solidFill>
              <a:latin typeface="Segoe UI" panose="020B0502040204020203" pitchFamily="34" charset="0"/>
              <a:cs typeface="Segoe UI" panose="020B0502040204020203" pitchFamily="34" charset="0"/>
            </a:rPr>
            <a:t> </a:t>
          </a:r>
          <a:r>
            <a:rPr lang="en-US" sz="2000" b="1" kern="1200" dirty="0" err="1">
              <a:solidFill>
                <a:schemeClr val="bg1"/>
              </a:solidFill>
              <a:latin typeface="Segoe UI" panose="020B0502040204020203" pitchFamily="34" charset="0"/>
              <a:cs typeface="Segoe UI" panose="020B0502040204020203" pitchFamily="34" charset="0"/>
            </a:rPr>
            <a:t>dokumen</a:t>
          </a:r>
          <a:r>
            <a:rPr lang="en-US" sz="2000" b="1" kern="1200" dirty="0">
              <a:solidFill>
                <a:schemeClr val="bg1"/>
              </a:solidFill>
              <a:latin typeface="Segoe UI" panose="020B0502040204020203" pitchFamily="34" charset="0"/>
              <a:cs typeface="Segoe UI" panose="020B0502040204020203" pitchFamily="34" charset="0"/>
            </a:rPr>
            <a:t> </a:t>
          </a:r>
          <a:r>
            <a:rPr lang="en-US" sz="2000" b="1" kern="1200" dirty="0" err="1">
              <a:solidFill>
                <a:schemeClr val="bg1"/>
              </a:solidFill>
              <a:latin typeface="Segoe UI" panose="020B0502040204020203" pitchFamily="34" charset="0"/>
              <a:cs typeface="Segoe UI" panose="020B0502040204020203" pitchFamily="34" charset="0"/>
            </a:rPr>
            <a:t>terkait</a:t>
          </a:r>
          <a:r>
            <a:rPr lang="en-US" sz="2000" b="1" kern="1200" dirty="0">
              <a:solidFill>
                <a:schemeClr val="bg1"/>
              </a:solidFill>
              <a:latin typeface="Segoe UI" panose="020B0502040204020203" pitchFamily="34" charset="0"/>
              <a:cs typeface="Segoe UI" panose="020B0502040204020203" pitchFamily="34" charset="0"/>
            </a:rPr>
            <a:t> proses </a:t>
          </a:r>
          <a:r>
            <a:rPr lang="en-US" sz="2000" b="1" kern="1200" dirty="0" err="1">
              <a:solidFill>
                <a:schemeClr val="bg1"/>
              </a:solidFill>
              <a:latin typeface="Segoe UI" panose="020B0502040204020203" pitchFamily="34" charset="0"/>
              <a:cs typeface="Segoe UI" panose="020B0502040204020203" pitchFamily="34" charset="0"/>
            </a:rPr>
            <a:t>bisnis</a:t>
          </a:r>
          <a:endParaRPr lang="en-US" sz="2000" b="1" kern="1200" dirty="0">
            <a:solidFill>
              <a:schemeClr val="bg1"/>
            </a:solidFill>
            <a:latin typeface="Segoe UI" panose="020B0502040204020203" pitchFamily="34" charset="0"/>
            <a:cs typeface="Segoe UI" panose="020B0502040204020203" pitchFamily="34" charset="0"/>
          </a:endParaRPr>
        </a:p>
        <a:p>
          <a:pPr marL="0" lvl="0" indent="0" algn="l" defTabSz="889000" rtl="0">
            <a:lnSpc>
              <a:spcPct val="90000"/>
            </a:lnSpc>
            <a:spcBef>
              <a:spcPct val="0"/>
            </a:spcBef>
            <a:spcAft>
              <a:spcPts val="0"/>
            </a:spcAft>
            <a:buNone/>
          </a:pPr>
          <a:r>
            <a:rPr lang="en-US" sz="2000" kern="1200">
              <a:solidFill>
                <a:schemeClr val="bg1"/>
              </a:solidFill>
              <a:latin typeface="Segoe UI" panose="020B0502040204020203" pitchFamily="34" charset="0"/>
              <a:cs typeface="Segoe UI" panose="020B0502040204020203" pitchFamily="34" charset="0"/>
            </a:rPr>
            <a:t>- Peraturan</a:t>
          </a:r>
        </a:p>
        <a:p>
          <a:pPr marL="0" lvl="0" indent="0" algn="l" defTabSz="889000" rtl="0">
            <a:lnSpc>
              <a:spcPct val="90000"/>
            </a:lnSpc>
            <a:spcBef>
              <a:spcPct val="0"/>
            </a:spcBef>
            <a:spcAft>
              <a:spcPts val="0"/>
            </a:spcAft>
            <a:buNone/>
          </a:pPr>
          <a:r>
            <a:rPr lang="en-US" sz="2000" kern="1200">
              <a:solidFill>
                <a:schemeClr val="bg1"/>
              </a:solidFill>
              <a:latin typeface="Segoe UI" panose="020B0502040204020203" pitchFamily="34" charset="0"/>
              <a:cs typeface="Segoe UI" panose="020B0502040204020203" pitchFamily="34" charset="0"/>
            </a:rPr>
            <a:t>- Kebijakan</a:t>
          </a:r>
        </a:p>
        <a:p>
          <a:pPr marL="0" lvl="0" indent="0" algn="l" defTabSz="889000" rtl="0">
            <a:lnSpc>
              <a:spcPct val="90000"/>
            </a:lnSpc>
            <a:spcBef>
              <a:spcPct val="0"/>
            </a:spcBef>
            <a:spcAft>
              <a:spcPts val="0"/>
            </a:spcAft>
            <a:buNone/>
          </a:pPr>
          <a:r>
            <a:rPr lang="en-US" sz="2000" kern="1200">
              <a:solidFill>
                <a:schemeClr val="bg1"/>
              </a:solidFill>
              <a:latin typeface="Segoe UI" panose="020B0502040204020203" pitchFamily="34" charset="0"/>
              <a:cs typeface="Segoe UI" panose="020B0502040204020203" pitchFamily="34" charset="0"/>
            </a:rPr>
            <a:t>- SOP</a:t>
          </a:r>
          <a:endParaRPr lang="en-ID" sz="2000" kern="1200" dirty="0">
            <a:solidFill>
              <a:schemeClr val="bg1"/>
            </a:solidFill>
            <a:latin typeface="Segoe UI" panose="020B0502040204020203" pitchFamily="34" charset="0"/>
            <a:cs typeface="Segoe UI" panose="020B0502040204020203" pitchFamily="34" charset="0"/>
          </a:endParaRPr>
        </a:p>
      </dsp:txBody>
      <dsp:txXfrm>
        <a:off x="40710" y="2300"/>
        <a:ext cx="3084397" cy="1850638"/>
      </dsp:txXfrm>
    </dsp:sp>
    <dsp:sp modelId="{F8D43065-756D-448C-8A80-E3E7799E81D5}">
      <dsp:nvSpPr>
        <dsp:cNvPr id="0" name=""/>
        <dsp:cNvSpPr/>
      </dsp:nvSpPr>
      <dsp:spPr>
        <a:xfrm>
          <a:off x="6917117" y="881900"/>
          <a:ext cx="678811" cy="91440"/>
        </a:xfrm>
        <a:custGeom>
          <a:avLst/>
          <a:gdLst/>
          <a:ahLst/>
          <a:cxnLst/>
          <a:rect l="0" t="0" r="0" b="0"/>
          <a:pathLst>
            <a:path>
              <a:moveTo>
                <a:pt x="0" y="45720"/>
              </a:moveTo>
              <a:lnTo>
                <a:pt x="678811" y="45720"/>
              </a:lnTo>
            </a:path>
          </a:pathLst>
        </a:custGeom>
        <a:noFill/>
        <a:ln w="9525" cap="flat"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D" sz="500" kern="1200">
            <a:latin typeface="Segoe UI" panose="020B0502040204020203" pitchFamily="34" charset="0"/>
            <a:cs typeface="Segoe UI" panose="020B0502040204020203" pitchFamily="34" charset="0"/>
          </a:endParaRPr>
        </a:p>
      </dsp:txBody>
      <dsp:txXfrm>
        <a:off x="7238787" y="924069"/>
        <a:ext cx="35470" cy="7101"/>
      </dsp:txXfrm>
    </dsp:sp>
    <dsp:sp modelId="{489EBCA8-2582-488F-9328-957B1FC13A4C}">
      <dsp:nvSpPr>
        <dsp:cNvPr id="0" name=""/>
        <dsp:cNvSpPr/>
      </dsp:nvSpPr>
      <dsp:spPr>
        <a:xfrm>
          <a:off x="3834519" y="2300"/>
          <a:ext cx="3084397" cy="1850638"/>
        </a:xfrm>
        <a:prstGeom prst="rect">
          <a:avLst/>
        </a:prstGeom>
        <a:solidFill>
          <a:schemeClr val="accent4">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dirty="0" err="1">
              <a:solidFill>
                <a:schemeClr val="tx1"/>
              </a:solidFill>
              <a:latin typeface="Segoe UI" panose="020B0502040204020203" pitchFamily="34" charset="0"/>
              <a:cs typeface="Segoe UI" panose="020B0502040204020203" pitchFamily="34" charset="0"/>
            </a:rPr>
            <a:t>Analisis</a:t>
          </a:r>
          <a:r>
            <a:rPr lang="en-US" sz="2000" b="1" kern="1200" dirty="0">
              <a:solidFill>
                <a:schemeClr val="tx1"/>
              </a:solidFill>
              <a:latin typeface="Segoe UI" panose="020B0502040204020203" pitchFamily="34" charset="0"/>
              <a:cs typeface="Segoe UI" panose="020B0502040204020203" pitchFamily="34" charset="0"/>
            </a:rPr>
            <a:t> </a:t>
          </a:r>
          <a:r>
            <a:rPr lang="en-US" sz="2000" b="1" kern="1200" dirty="0" err="1">
              <a:solidFill>
                <a:schemeClr val="tx1"/>
              </a:solidFill>
              <a:latin typeface="Segoe UI" panose="020B0502040204020203" pitchFamily="34" charset="0"/>
              <a:cs typeface="Segoe UI" panose="020B0502040204020203" pitchFamily="34" charset="0"/>
            </a:rPr>
            <a:t>dokumen</a:t>
          </a:r>
          <a:r>
            <a:rPr lang="en-US" sz="2000" b="1" kern="1200" dirty="0">
              <a:solidFill>
                <a:schemeClr val="tx1"/>
              </a:solidFill>
              <a:latin typeface="Segoe UI" panose="020B0502040204020203" pitchFamily="34" charset="0"/>
              <a:cs typeface="Segoe UI" panose="020B0502040204020203" pitchFamily="34" charset="0"/>
            </a:rPr>
            <a:t> </a:t>
          </a:r>
          <a:r>
            <a:rPr lang="en-US" sz="2000" b="1" kern="1200" dirty="0" err="1">
              <a:solidFill>
                <a:schemeClr val="tx1"/>
              </a:solidFill>
              <a:latin typeface="Segoe UI" panose="020B0502040204020203" pitchFamily="34" charset="0"/>
              <a:cs typeface="Segoe UI" panose="020B0502040204020203" pitchFamily="34" charset="0"/>
            </a:rPr>
            <a:t>terkait</a:t>
          </a:r>
          <a:r>
            <a:rPr lang="en-US" sz="2000" b="1" kern="1200" dirty="0">
              <a:solidFill>
                <a:schemeClr val="tx1"/>
              </a:solidFill>
              <a:latin typeface="Segoe UI" panose="020B0502040204020203" pitchFamily="34" charset="0"/>
              <a:cs typeface="Segoe UI" panose="020B0502040204020203" pitchFamily="34" charset="0"/>
            </a:rPr>
            <a:t> </a:t>
          </a:r>
          <a:r>
            <a:rPr lang="en-US" sz="2000" b="1" kern="1200" dirty="0" err="1">
              <a:solidFill>
                <a:schemeClr val="tx1"/>
              </a:solidFill>
              <a:latin typeface="Segoe UI" panose="020B0502040204020203" pitchFamily="34" charset="0"/>
              <a:cs typeface="Segoe UI" panose="020B0502040204020203" pitchFamily="34" charset="0"/>
            </a:rPr>
            <a:t>sistem</a:t>
          </a:r>
          <a:r>
            <a:rPr lang="en-US" sz="2000" b="1" kern="1200" dirty="0">
              <a:solidFill>
                <a:schemeClr val="tx1"/>
              </a:solidFill>
              <a:latin typeface="Segoe UI" panose="020B0502040204020203" pitchFamily="34" charset="0"/>
              <a:cs typeface="Segoe UI" panose="020B0502040204020203" pitchFamily="34" charset="0"/>
            </a:rPr>
            <a:t> </a:t>
          </a:r>
        </a:p>
        <a:p>
          <a:pPr marL="0" lvl="0" indent="0" algn="l" defTabSz="889000" rtl="0">
            <a:lnSpc>
              <a:spcPct val="100000"/>
            </a:lnSpc>
            <a:spcBef>
              <a:spcPct val="0"/>
            </a:spcBef>
            <a:spcAft>
              <a:spcPts val="0"/>
            </a:spcAft>
            <a:buNone/>
          </a:pPr>
          <a:r>
            <a:rPr lang="en-US" sz="2000" i="1" kern="1200">
              <a:solidFill>
                <a:schemeClr val="tx1"/>
              </a:solidFill>
              <a:latin typeface="Segoe UI" panose="020B0502040204020203" pitchFamily="34" charset="0"/>
              <a:cs typeface="Segoe UI" panose="020B0502040204020203" pitchFamily="34" charset="0"/>
            </a:rPr>
            <a:t>- user manual</a:t>
          </a:r>
        </a:p>
        <a:p>
          <a:pPr marL="0" lvl="0" indent="0" algn="l" defTabSz="889000" rtl="0">
            <a:lnSpc>
              <a:spcPct val="100000"/>
            </a:lnSpc>
            <a:spcBef>
              <a:spcPct val="0"/>
            </a:spcBef>
            <a:spcAft>
              <a:spcPts val="0"/>
            </a:spcAft>
            <a:buNone/>
          </a:pPr>
          <a:r>
            <a:rPr lang="en-US" sz="2000" i="1" kern="1200">
              <a:solidFill>
                <a:schemeClr val="tx1"/>
              </a:solidFill>
              <a:latin typeface="Segoe UI" panose="020B0502040204020203" pitchFamily="34" charset="0"/>
              <a:cs typeface="Segoe UI" panose="020B0502040204020203" pitchFamily="34" charset="0"/>
            </a:rPr>
            <a:t>- </a:t>
          </a:r>
          <a:r>
            <a:rPr lang="en-US" sz="2000" kern="1200">
              <a:solidFill>
                <a:schemeClr val="tx1"/>
              </a:solidFill>
              <a:latin typeface="Segoe UI" panose="020B0502040204020203" pitchFamily="34" charset="0"/>
              <a:cs typeface="Segoe UI" panose="020B0502040204020203" pitchFamily="34" charset="0"/>
            </a:rPr>
            <a:t>dokumentasi </a:t>
          </a:r>
          <a:r>
            <a:rPr lang="en-US" sz="2000" kern="1200" err="1">
              <a:solidFill>
                <a:schemeClr val="tx1"/>
              </a:solidFill>
              <a:latin typeface="Segoe UI" panose="020B0502040204020203" pitchFamily="34" charset="0"/>
              <a:cs typeface="Segoe UI" panose="020B0502040204020203" pitchFamily="34" charset="0"/>
            </a:rPr>
            <a:t>pengembangan</a:t>
          </a:r>
          <a:r>
            <a:rPr lang="en-US" sz="2000" kern="1200">
              <a:solidFill>
                <a:schemeClr val="tx1"/>
              </a:solidFill>
              <a:latin typeface="Segoe UI" panose="020B0502040204020203" pitchFamily="34" charset="0"/>
              <a:cs typeface="Segoe UI" panose="020B0502040204020203" pitchFamily="34" charset="0"/>
            </a:rPr>
            <a:t> sistem</a:t>
          </a:r>
          <a:endParaRPr lang="en-ID" sz="2000" kern="1200" dirty="0">
            <a:solidFill>
              <a:schemeClr val="tx1"/>
            </a:solidFill>
            <a:latin typeface="Segoe UI" panose="020B0502040204020203" pitchFamily="34" charset="0"/>
            <a:cs typeface="Segoe UI" panose="020B0502040204020203" pitchFamily="34" charset="0"/>
          </a:endParaRPr>
        </a:p>
      </dsp:txBody>
      <dsp:txXfrm>
        <a:off x="3834519" y="2300"/>
        <a:ext cx="3084397" cy="1850638"/>
      </dsp:txXfrm>
    </dsp:sp>
    <dsp:sp modelId="{0505B2EE-4AE0-4118-9E5C-6EE34482BAE1}">
      <dsp:nvSpPr>
        <dsp:cNvPr id="0" name=""/>
        <dsp:cNvSpPr/>
      </dsp:nvSpPr>
      <dsp:spPr>
        <a:xfrm>
          <a:off x="3093524" y="1851139"/>
          <a:ext cx="6077003" cy="667189"/>
        </a:xfrm>
        <a:custGeom>
          <a:avLst/>
          <a:gdLst/>
          <a:ahLst/>
          <a:cxnLst/>
          <a:rect l="0" t="0" r="0" b="0"/>
          <a:pathLst>
            <a:path>
              <a:moveTo>
                <a:pt x="6077003" y="0"/>
              </a:moveTo>
              <a:lnTo>
                <a:pt x="6077003" y="350694"/>
              </a:lnTo>
              <a:lnTo>
                <a:pt x="0" y="350694"/>
              </a:lnTo>
              <a:lnTo>
                <a:pt x="0" y="667189"/>
              </a:lnTo>
            </a:path>
          </a:pathLst>
        </a:custGeom>
        <a:noFill/>
        <a:ln w="9525" cap="flat"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D" sz="500" kern="1200">
            <a:latin typeface="Segoe UI" panose="020B0502040204020203" pitchFamily="34" charset="0"/>
            <a:cs typeface="Segoe UI" panose="020B0502040204020203" pitchFamily="34" charset="0"/>
          </a:endParaRPr>
        </a:p>
      </dsp:txBody>
      <dsp:txXfrm>
        <a:off x="5979102" y="2181183"/>
        <a:ext cx="305846" cy="7101"/>
      </dsp:txXfrm>
    </dsp:sp>
    <dsp:sp modelId="{33053EC2-F6D3-49B2-87F4-9E3D0A13AFB3}">
      <dsp:nvSpPr>
        <dsp:cNvPr id="0" name=""/>
        <dsp:cNvSpPr/>
      </dsp:nvSpPr>
      <dsp:spPr>
        <a:xfrm>
          <a:off x="7628328" y="2300"/>
          <a:ext cx="3084397" cy="1850638"/>
        </a:xfrm>
        <a:prstGeom prst="rect">
          <a:avLst/>
        </a:prstGeom>
        <a:solidFill>
          <a:schemeClr val="tx1">
            <a:lumMod val="75000"/>
            <a:lumOff val="25000"/>
          </a:schemeClr>
        </a:solidFill>
        <a:ln w="25400" cap="flat" cmpd="sng" algn="ctr">
          <a:no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dirty="0" err="1">
              <a:solidFill>
                <a:schemeClr val="bg1"/>
              </a:solidFill>
              <a:latin typeface="Segoe UI" panose="020B0502040204020203" pitchFamily="34" charset="0"/>
              <a:cs typeface="Segoe UI" panose="020B0502040204020203" pitchFamily="34" charset="0"/>
            </a:rPr>
            <a:t>Simulasi</a:t>
          </a:r>
          <a:r>
            <a:rPr lang="en-US" sz="2000" b="1" kern="1200" dirty="0">
              <a:solidFill>
                <a:schemeClr val="bg1"/>
              </a:solidFill>
              <a:latin typeface="Segoe UI" panose="020B0502040204020203" pitchFamily="34" charset="0"/>
              <a:cs typeface="Segoe UI" panose="020B0502040204020203" pitchFamily="34" charset="0"/>
            </a:rPr>
            <a:t> </a:t>
          </a:r>
          <a:r>
            <a:rPr lang="en-US" sz="2000" b="1" kern="1200" dirty="0" err="1">
              <a:solidFill>
                <a:schemeClr val="bg1"/>
              </a:solidFill>
              <a:latin typeface="Segoe UI" panose="020B0502040204020203" pitchFamily="34" charset="0"/>
              <a:cs typeface="Segoe UI" panose="020B0502040204020203" pitchFamily="34" charset="0"/>
            </a:rPr>
            <a:t>Penggunaan</a:t>
          </a:r>
          <a:r>
            <a:rPr lang="en-US" sz="2000" b="1" kern="1200" dirty="0">
              <a:solidFill>
                <a:schemeClr val="bg1"/>
              </a:solidFill>
              <a:latin typeface="Segoe UI" panose="020B0502040204020203" pitchFamily="34" charset="0"/>
              <a:cs typeface="Segoe UI" panose="020B0502040204020203" pitchFamily="34" charset="0"/>
            </a:rPr>
            <a:t> </a:t>
          </a:r>
          <a:r>
            <a:rPr lang="en-US" sz="2000" b="1" kern="1200" dirty="0" err="1">
              <a:solidFill>
                <a:schemeClr val="bg1"/>
              </a:solidFill>
              <a:latin typeface="Segoe UI" panose="020B0502040204020203" pitchFamily="34" charset="0"/>
              <a:cs typeface="Segoe UI" panose="020B0502040204020203" pitchFamily="34" charset="0"/>
            </a:rPr>
            <a:t>Aplikasi</a:t>
          </a:r>
          <a:endParaRPr lang="en-ID" sz="2000" b="1" kern="1200" dirty="0">
            <a:solidFill>
              <a:schemeClr val="bg1"/>
            </a:solidFill>
            <a:latin typeface="Segoe UI" panose="020B0502040204020203" pitchFamily="34" charset="0"/>
            <a:cs typeface="Segoe UI" panose="020B0502040204020203" pitchFamily="34" charset="0"/>
          </a:endParaRPr>
        </a:p>
      </dsp:txBody>
      <dsp:txXfrm>
        <a:off x="7628328" y="2300"/>
        <a:ext cx="3084397" cy="1850638"/>
      </dsp:txXfrm>
    </dsp:sp>
    <dsp:sp modelId="{175847DF-8C92-4269-B5BA-AFA375F77EE4}">
      <dsp:nvSpPr>
        <dsp:cNvPr id="0" name=""/>
        <dsp:cNvSpPr/>
      </dsp:nvSpPr>
      <dsp:spPr>
        <a:xfrm>
          <a:off x="4633922" y="3430327"/>
          <a:ext cx="1399265" cy="91440"/>
        </a:xfrm>
        <a:custGeom>
          <a:avLst/>
          <a:gdLst/>
          <a:ahLst/>
          <a:cxnLst/>
          <a:rect l="0" t="0" r="0" b="0"/>
          <a:pathLst>
            <a:path>
              <a:moveTo>
                <a:pt x="0" y="45720"/>
              </a:moveTo>
              <a:lnTo>
                <a:pt x="716732" y="45720"/>
              </a:lnTo>
              <a:lnTo>
                <a:pt x="716732" y="50642"/>
              </a:lnTo>
              <a:lnTo>
                <a:pt x="1399265" y="50642"/>
              </a:lnTo>
            </a:path>
          </a:pathLst>
        </a:custGeom>
        <a:noFill/>
        <a:ln w="9525" cap="flat"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D" sz="500" kern="1200">
            <a:latin typeface="Segoe UI" panose="020B0502040204020203" pitchFamily="34" charset="0"/>
            <a:cs typeface="Segoe UI" panose="020B0502040204020203" pitchFamily="34" charset="0"/>
          </a:endParaRPr>
        </a:p>
      </dsp:txBody>
      <dsp:txXfrm>
        <a:off x="5297808" y="3472497"/>
        <a:ext cx="71493" cy="7101"/>
      </dsp:txXfrm>
    </dsp:sp>
    <dsp:sp modelId="{E1B3783D-3734-4B21-AEED-DCA5A6C86B20}">
      <dsp:nvSpPr>
        <dsp:cNvPr id="0" name=""/>
        <dsp:cNvSpPr/>
      </dsp:nvSpPr>
      <dsp:spPr>
        <a:xfrm>
          <a:off x="1551325" y="2550728"/>
          <a:ext cx="3084397" cy="1850638"/>
        </a:xfrm>
        <a:prstGeom prst="rect">
          <a:avLst/>
        </a:prstGeom>
        <a:solidFill>
          <a:schemeClr val="accent4">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dirty="0" err="1">
              <a:solidFill>
                <a:schemeClr val="tx1"/>
              </a:solidFill>
              <a:latin typeface="Segoe UI" panose="020B0502040204020203" pitchFamily="34" charset="0"/>
              <a:cs typeface="Segoe UI" panose="020B0502040204020203" pitchFamily="34" charset="0"/>
            </a:rPr>
            <a:t>Pengumpulan</a:t>
          </a:r>
          <a:r>
            <a:rPr lang="en-US" sz="2000" b="1" kern="1200" dirty="0">
              <a:solidFill>
                <a:schemeClr val="tx1"/>
              </a:solidFill>
              <a:latin typeface="Segoe UI" panose="020B0502040204020203" pitchFamily="34" charset="0"/>
              <a:cs typeface="Segoe UI" panose="020B0502040204020203" pitchFamily="34" charset="0"/>
            </a:rPr>
            <a:t> </a:t>
          </a:r>
          <a:r>
            <a:rPr lang="en-US" sz="2000" b="1" i="1" kern="1200">
              <a:solidFill>
                <a:schemeClr val="tx1"/>
              </a:solidFill>
              <a:latin typeface="Segoe UI" panose="020B0502040204020203" pitchFamily="34" charset="0"/>
              <a:cs typeface="Segoe UI" panose="020B0502040204020203" pitchFamily="34" charset="0"/>
            </a:rPr>
            <a:t>user experience</a:t>
          </a:r>
          <a:endParaRPr lang="en-US" sz="2000" b="1" i="1" kern="1200" dirty="0">
            <a:solidFill>
              <a:schemeClr val="tx1"/>
            </a:solidFill>
            <a:latin typeface="Segoe UI" panose="020B0502040204020203" pitchFamily="34" charset="0"/>
            <a:cs typeface="Segoe UI" panose="020B0502040204020203" pitchFamily="34" charset="0"/>
          </a:endParaRPr>
        </a:p>
      </dsp:txBody>
      <dsp:txXfrm>
        <a:off x="1551325" y="2550728"/>
        <a:ext cx="3084397" cy="1850638"/>
      </dsp:txXfrm>
    </dsp:sp>
    <dsp:sp modelId="{B7B07608-BE08-422D-8852-1C7EAF95820A}">
      <dsp:nvSpPr>
        <dsp:cNvPr id="0" name=""/>
        <dsp:cNvSpPr/>
      </dsp:nvSpPr>
      <dsp:spPr>
        <a:xfrm>
          <a:off x="6065587" y="2555651"/>
          <a:ext cx="3084397" cy="1850638"/>
        </a:xfrm>
        <a:prstGeom prst="rect">
          <a:avLst/>
        </a:prstGeom>
        <a:solidFill>
          <a:schemeClr val="tx1">
            <a:lumMod val="75000"/>
            <a:lumOff val="25000"/>
          </a:schemeClr>
        </a:solidFill>
        <a:ln w="25400" cap="flat" cmpd="sng" algn="ctr">
          <a:no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dirty="0" err="1">
              <a:solidFill>
                <a:schemeClr val="bg1"/>
              </a:solidFill>
              <a:latin typeface="Segoe UI" panose="020B0502040204020203" pitchFamily="34" charset="0"/>
              <a:cs typeface="Segoe UI" panose="020B0502040204020203" pitchFamily="34" charset="0"/>
            </a:rPr>
            <a:t>Pendokumentasian</a:t>
          </a:r>
          <a:r>
            <a:rPr lang="en-US" sz="2000" b="1" kern="1200" dirty="0">
              <a:solidFill>
                <a:schemeClr val="bg1"/>
              </a:solidFill>
              <a:latin typeface="Segoe UI" panose="020B0502040204020203" pitchFamily="34" charset="0"/>
              <a:cs typeface="Segoe UI" panose="020B0502040204020203" pitchFamily="34" charset="0"/>
            </a:rPr>
            <a:t> </a:t>
          </a:r>
          <a:r>
            <a:rPr lang="en-US" sz="2000" b="1" kern="1200" dirty="0" err="1">
              <a:solidFill>
                <a:schemeClr val="bg1"/>
              </a:solidFill>
              <a:latin typeface="Segoe UI" panose="020B0502040204020203" pitchFamily="34" charset="0"/>
              <a:cs typeface="Segoe UI" panose="020B0502040204020203" pitchFamily="34" charset="0"/>
            </a:rPr>
            <a:t>dalam</a:t>
          </a:r>
          <a:r>
            <a:rPr lang="en-US" sz="2000" b="1" kern="1200" dirty="0">
              <a:solidFill>
                <a:schemeClr val="bg1"/>
              </a:solidFill>
              <a:latin typeface="Segoe UI" panose="020B0502040204020203" pitchFamily="34" charset="0"/>
              <a:cs typeface="Segoe UI" panose="020B0502040204020203" pitchFamily="34" charset="0"/>
            </a:rPr>
            <a:t> </a:t>
          </a:r>
          <a:r>
            <a:rPr lang="en-US" sz="2000" b="1" i="1" kern="1200" dirty="0">
              <a:solidFill>
                <a:schemeClr val="bg1"/>
              </a:solidFill>
              <a:latin typeface="Segoe UI" panose="020B0502040204020203" pitchFamily="34" charset="0"/>
              <a:cs typeface="Segoe UI" panose="020B0502040204020203" pitchFamily="34" charset="0"/>
            </a:rPr>
            <a:t>Risk and Control Matrix</a:t>
          </a:r>
          <a:r>
            <a:rPr lang="en-US" sz="2000" b="1" kern="1200" dirty="0">
              <a:solidFill>
                <a:schemeClr val="bg1"/>
              </a:solidFill>
              <a:latin typeface="Segoe UI" panose="020B0502040204020203" pitchFamily="34" charset="0"/>
              <a:cs typeface="Segoe UI" panose="020B0502040204020203" pitchFamily="34" charset="0"/>
            </a:rPr>
            <a:t> (RCM)</a:t>
          </a:r>
          <a:endParaRPr lang="en-ID" sz="2000" b="1" kern="1200" dirty="0">
            <a:solidFill>
              <a:schemeClr val="bg1"/>
            </a:solidFill>
            <a:latin typeface="Segoe UI" panose="020B0502040204020203" pitchFamily="34" charset="0"/>
            <a:cs typeface="Segoe UI" panose="020B0502040204020203" pitchFamily="34" charset="0"/>
          </a:endParaRPr>
        </a:p>
      </dsp:txBody>
      <dsp:txXfrm>
        <a:off x="6065587" y="2555651"/>
        <a:ext cx="3084397" cy="18506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E6095E-7AD9-458F-A071-C9953F6A0892}">
      <dsp:nvSpPr>
        <dsp:cNvPr id="0" name=""/>
        <dsp:cNvSpPr/>
      </dsp:nvSpPr>
      <dsp:spPr>
        <a:xfrm>
          <a:off x="179068" y="913"/>
          <a:ext cx="1812856" cy="642393"/>
        </a:xfrm>
        <a:prstGeom prst="rect">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Manual / </a:t>
          </a:r>
          <a:br>
            <a:rPr lang="en-US" sz="1300" kern="1200" dirty="0"/>
          </a:br>
          <a:r>
            <a:rPr lang="en-US" sz="1300" kern="1200" dirty="0"/>
            <a:t>di </a:t>
          </a:r>
          <a:r>
            <a:rPr lang="en-US" sz="1300" kern="1200" dirty="0" err="1"/>
            <a:t>luar</a:t>
          </a:r>
          <a:r>
            <a:rPr lang="en-US" sz="1300" kern="1200" dirty="0"/>
            <a:t> </a:t>
          </a:r>
          <a:r>
            <a:rPr lang="en-US" sz="1300" kern="1200" dirty="0" err="1"/>
            <a:t>aplikasi</a:t>
          </a:r>
          <a:endParaRPr lang="en-ID" sz="1300" kern="1200" dirty="0"/>
        </a:p>
      </dsp:txBody>
      <dsp:txXfrm>
        <a:off x="179068" y="913"/>
        <a:ext cx="1812856" cy="642393"/>
      </dsp:txXfrm>
    </dsp:sp>
    <dsp:sp modelId="{A2D2271D-EB14-45FB-9015-1374C4E94D7F}">
      <dsp:nvSpPr>
        <dsp:cNvPr id="0" name=""/>
        <dsp:cNvSpPr/>
      </dsp:nvSpPr>
      <dsp:spPr>
        <a:xfrm>
          <a:off x="179068" y="750373"/>
          <a:ext cx="1812856" cy="642393"/>
        </a:xfrm>
        <a:prstGeom prst="rect">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IT </a:t>
          </a:r>
          <a:r>
            <a:rPr lang="en-US" sz="1300" kern="1200" dirty="0" err="1"/>
            <a:t>dependen</a:t>
          </a:r>
          <a:r>
            <a:rPr lang="en-US" sz="1300" kern="1200" dirty="0"/>
            <a:t> manual (ITDM) / semi manual </a:t>
          </a:r>
          <a:endParaRPr lang="en-ID" sz="1300" kern="1200" dirty="0"/>
        </a:p>
      </dsp:txBody>
      <dsp:txXfrm>
        <a:off x="179068" y="750373"/>
        <a:ext cx="1812856" cy="642393"/>
      </dsp:txXfrm>
    </dsp:sp>
    <dsp:sp modelId="{EE23C0D9-91F9-4774-8D9A-5FD4651F587D}">
      <dsp:nvSpPr>
        <dsp:cNvPr id="0" name=""/>
        <dsp:cNvSpPr/>
      </dsp:nvSpPr>
      <dsp:spPr>
        <a:xfrm>
          <a:off x="179068" y="1499832"/>
          <a:ext cx="1812856" cy="642393"/>
        </a:xfrm>
        <a:prstGeom prst="rect">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Terotomasi</a:t>
          </a:r>
          <a:r>
            <a:rPr lang="en-US" sz="1300" kern="1200" dirty="0"/>
            <a:t> / </a:t>
          </a:r>
          <a:br>
            <a:rPr lang="en-US" sz="1300" kern="1200" dirty="0"/>
          </a:br>
          <a:r>
            <a:rPr lang="en-US" sz="1300" kern="1200" dirty="0"/>
            <a:t>di </a:t>
          </a:r>
          <a:r>
            <a:rPr lang="en-US" sz="1300" kern="1200" dirty="0" err="1"/>
            <a:t>dalam</a:t>
          </a:r>
          <a:r>
            <a:rPr lang="en-US" sz="1300" kern="1200" dirty="0"/>
            <a:t> </a:t>
          </a:r>
          <a:r>
            <a:rPr lang="en-US" sz="1300" kern="1200" dirty="0" err="1"/>
            <a:t>aplikasi</a:t>
          </a:r>
          <a:endParaRPr lang="en-ID" sz="1300" kern="1200" dirty="0"/>
        </a:p>
      </dsp:txBody>
      <dsp:txXfrm>
        <a:off x="179068" y="1499832"/>
        <a:ext cx="1812856" cy="6423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24996B-4C10-4F00-A238-4E439DEBB46D}">
      <dsp:nvSpPr>
        <dsp:cNvPr id="0" name=""/>
        <dsp:cNvSpPr/>
      </dsp:nvSpPr>
      <dsp:spPr>
        <a:xfrm rot="10800000">
          <a:off x="2449601" y="1024"/>
          <a:ext cx="8330147" cy="1405626"/>
        </a:xfrm>
        <a:prstGeom prst="homePlate">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19842" tIns="83820" rIns="156464" bIns="83820" numCol="1" spcCol="1270" anchor="t" anchorCtr="0">
          <a:noAutofit/>
        </a:bodyPr>
        <a:lstStyle/>
        <a:p>
          <a:pPr marL="0" lvl="0" indent="0" algn="l" defTabSz="977900">
            <a:lnSpc>
              <a:spcPct val="90000"/>
            </a:lnSpc>
            <a:spcBef>
              <a:spcPct val="0"/>
            </a:spcBef>
            <a:spcAft>
              <a:spcPct val="35000"/>
            </a:spcAft>
            <a:buNone/>
          </a:pPr>
          <a:r>
            <a:rPr lang="en-US" sz="2200" kern="1200"/>
            <a:t>Peran Business Leader / Auditor Senior sangat penting dalam:</a:t>
          </a:r>
          <a:endParaRPr lang="en-ID" sz="2200" kern="1200" dirty="0"/>
        </a:p>
        <a:p>
          <a:pPr marL="171450" lvl="1" indent="-171450" algn="l" defTabSz="755650">
            <a:lnSpc>
              <a:spcPct val="90000"/>
            </a:lnSpc>
            <a:spcBef>
              <a:spcPct val="0"/>
            </a:spcBef>
            <a:spcAft>
              <a:spcPct val="15000"/>
            </a:spcAft>
            <a:buChar char="•"/>
          </a:pPr>
          <a:r>
            <a:rPr lang="en-US" sz="1700" kern="1200"/>
            <a:t>menentukan tujuan</a:t>
          </a:r>
          <a:endParaRPr lang="en-US" sz="1700" kern="1200" dirty="0"/>
        </a:p>
        <a:p>
          <a:pPr marL="171450" lvl="1" indent="-171450" algn="l" defTabSz="755650">
            <a:lnSpc>
              <a:spcPct val="90000"/>
            </a:lnSpc>
            <a:spcBef>
              <a:spcPct val="0"/>
            </a:spcBef>
            <a:spcAft>
              <a:spcPct val="15000"/>
            </a:spcAft>
            <a:buChar char="•"/>
          </a:pPr>
          <a:r>
            <a:rPr lang="en-US" sz="1700" kern="1200"/>
            <a:t>membimbing anggota tim menentukan aktivitas berisiko</a:t>
          </a:r>
          <a:endParaRPr lang="en-ID" sz="1700" kern="1200" dirty="0"/>
        </a:p>
      </dsp:txBody>
      <dsp:txXfrm rot="10800000">
        <a:off x="2801007" y="1024"/>
        <a:ext cx="7978741" cy="1405626"/>
      </dsp:txXfrm>
    </dsp:sp>
    <dsp:sp modelId="{3E499F35-73F8-435D-88D3-BC3B99D8B542}">
      <dsp:nvSpPr>
        <dsp:cNvPr id="0" name=""/>
        <dsp:cNvSpPr/>
      </dsp:nvSpPr>
      <dsp:spPr>
        <a:xfrm>
          <a:off x="1746788" y="1024"/>
          <a:ext cx="1405626" cy="140562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17000" r="-17000"/>
          </a:stretch>
        </a:blip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BC86E8AD-9775-45A3-97B1-AFD8172C29B4}">
      <dsp:nvSpPr>
        <dsp:cNvPr id="0" name=""/>
        <dsp:cNvSpPr/>
      </dsp:nvSpPr>
      <dsp:spPr>
        <a:xfrm rot="10800000">
          <a:off x="2449601" y="1826241"/>
          <a:ext cx="8330147" cy="1405626"/>
        </a:xfrm>
        <a:prstGeom prst="homePlate">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19842"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a:t>Identifikasi proses signifikan </a:t>
          </a:r>
          <a:r>
            <a:rPr lang="en-US" sz="2200" i="1" kern="1200"/>
            <a:t>beyond </a:t>
          </a:r>
          <a:r>
            <a:rPr lang="en-US" sz="2200" kern="1200"/>
            <a:t>SOP, karena perkembangan probis (terutama yang memanfaatkan IT) umumnya lebih cepat dari SOP</a:t>
          </a:r>
          <a:endParaRPr lang="en-ID" sz="2200" kern="1200" dirty="0"/>
        </a:p>
      </dsp:txBody>
      <dsp:txXfrm rot="10800000">
        <a:off x="2801007" y="1826241"/>
        <a:ext cx="7978741" cy="1405626"/>
      </dsp:txXfrm>
    </dsp:sp>
    <dsp:sp modelId="{06FF2D76-2853-4CE1-9357-C9A6EF9840FB}">
      <dsp:nvSpPr>
        <dsp:cNvPr id="0" name=""/>
        <dsp:cNvSpPr/>
      </dsp:nvSpPr>
      <dsp:spPr>
        <a:xfrm>
          <a:off x="1746788" y="1826241"/>
          <a:ext cx="1405626" cy="1405626"/>
        </a:xfrm>
        <a:prstGeom prst="ellipse">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328" t="-1549" r="-966" b="1549"/>
          </a:stretch>
        </a:blip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C8E2E5AD-7A00-429F-8791-9E14142D19CC}">
      <dsp:nvSpPr>
        <dsp:cNvPr id="0" name=""/>
        <dsp:cNvSpPr/>
      </dsp:nvSpPr>
      <dsp:spPr>
        <a:xfrm rot="10800000">
          <a:off x="2449601" y="3651458"/>
          <a:ext cx="8330147" cy="1405626"/>
        </a:xfrm>
        <a:prstGeom prst="homePlate">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19842" tIns="83820" rIns="156464" bIns="83820" numCol="1" spcCol="1270" anchor="ctr" anchorCtr="0">
          <a:noAutofit/>
        </a:bodyPr>
        <a:lstStyle/>
        <a:p>
          <a:pPr marL="0" lvl="0" indent="0" algn="ctr" defTabSz="977900">
            <a:lnSpc>
              <a:spcPct val="90000"/>
            </a:lnSpc>
            <a:spcBef>
              <a:spcPct val="0"/>
            </a:spcBef>
            <a:spcAft>
              <a:spcPct val="35000"/>
            </a:spcAft>
            <a:buNone/>
          </a:pPr>
          <a:r>
            <a:rPr lang="en-US" sz="2200" kern="1200" dirty="0" err="1"/>
            <a:t>Pentingnya</a:t>
          </a:r>
          <a:r>
            <a:rPr lang="en-US" sz="2200" kern="1200" dirty="0"/>
            <a:t> </a:t>
          </a:r>
          <a:r>
            <a:rPr lang="en-US" sz="2200" kern="1200" dirty="0" err="1"/>
            <a:t>konfirmasi</a:t>
          </a:r>
          <a:r>
            <a:rPr lang="en-US" sz="2200" kern="1200" dirty="0"/>
            <a:t> RCM yang </a:t>
          </a:r>
          <a:r>
            <a:rPr lang="en-US" sz="2200" kern="1200" dirty="0" err="1"/>
            <a:t>dibuat</a:t>
          </a:r>
          <a:r>
            <a:rPr lang="en-US" sz="2200" kern="1200" dirty="0"/>
            <a:t> </a:t>
          </a:r>
          <a:r>
            <a:rPr lang="en-US" sz="2200" kern="1200" dirty="0" err="1"/>
            <a:t>dengan</a:t>
          </a:r>
          <a:r>
            <a:rPr lang="en-US" sz="2200" kern="1200" dirty="0"/>
            <a:t> </a:t>
          </a:r>
          <a:r>
            <a:rPr lang="en-US" sz="2200" kern="1200" dirty="0" err="1"/>
            <a:t>Klien</a:t>
          </a:r>
          <a:r>
            <a:rPr lang="en-US" sz="2200" kern="1200" dirty="0"/>
            <a:t> </a:t>
          </a:r>
          <a:r>
            <a:rPr lang="en-US" sz="2200" kern="1200" dirty="0" err="1"/>
            <a:t>Pengawasan</a:t>
          </a:r>
          <a:r>
            <a:rPr lang="en-US" sz="2200" kern="1200" dirty="0"/>
            <a:t> dan/</a:t>
          </a:r>
          <a:r>
            <a:rPr lang="en-US" sz="2200" kern="1200" dirty="0" err="1"/>
            <a:t>atau</a:t>
          </a:r>
          <a:r>
            <a:rPr lang="en-US" sz="2200" kern="1200" dirty="0"/>
            <a:t> </a:t>
          </a:r>
          <a:r>
            <a:rPr lang="en-US" sz="2200" i="1" kern="1200" dirty="0"/>
            <a:t>second line of defense</a:t>
          </a:r>
          <a:endParaRPr lang="en-ID" sz="2200" kern="1200" dirty="0"/>
        </a:p>
      </dsp:txBody>
      <dsp:txXfrm rot="10800000">
        <a:off x="2801007" y="3651458"/>
        <a:ext cx="7978741" cy="1405626"/>
      </dsp:txXfrm>
    </dsp:sp>
    <dsp:sp modelId="{EE2677E8-45C0-46A8-A2A3-4B1CF11629F5}">
      <dsp:nvSpPr>
        <dsp:cNvPr id="0" name=""/>
        <dsp:cNvSpPr/>
      </dsp:nvSpPr>
      <dsp:spPr>
        <a:xfrm>
          <a:off x="1746788" y="3651458"/>
          <a:ext cx="1405626" cy="1405626"/>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l="-16000" r="-16000"/>
          </a:stretch>
        </a:blip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4B283A-9E48-45BF-AE01-B9EB53E80428}">
      <dsp:nvSpPr>
        <dsp:cNvPr id="0" name=""/>
        <dsp:cNvSpPr/>
      </dsp:nvSpPr>
      <dsp:spPr>
        <a:xfrm>
          <a:off x="1715286" y="1528259"/>
          <a:ext cx="3560485" cy="2936655"/>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AU" sz="2000" kern="1200" dirty="0" err="1"/>
            <a:t>Inisiasi</a:t>
          </a:r>
          <a:r>
            <a:rPr lang="en-AU" sz="2000" kern="1200" dirty="0"/>
            <a:t> </a:t>
          </a:r>
          <a:r>
            <a:rPr lang="en-AU" sz="2000" kern="1200" dirty="0" err="1"/>
            <a:t>awal</a:t>
          </a:r>
          <a:r>
            <a:rPr lang="en-AU" sz="2000" kern="1200" dirty="0"/>
            <a:t> CA</a:t>
          </a:r>
        </a:p>
        <a:p>
          <a:pPr marL="228600" lvl="1" indent="-228600" algn="l" defTabSz="889000">
            <a:lnSpc>
              <a:spcPct val="90000"/>
            </a:lnSpc>
            <a:spcBef>
              <a:spcPct val="0"/>
            </a:spcBef>
            <a:spcAft>
              <a:spcPct val="15000"/>
            </a:spcAft>
            <a:buChar char="•"/>
          </a:pPr>
          <a:r>
            <a:rPr lang="en-AU" sz="2000" kern="1200" dirty="0"/>
            <a:t>Fields audit tools</a:t>
          </a:r>
        </a:p>
        <a:p>
          <a:pPr marL="228600" lvl="1" indent="-228600" algn="l" defTabSz="889000">
            <a:lnSpc>
              <a:spcPct val="90000"/>
            </a:lnSpc>
            <a:spcBef>
              <a:spcPct val="0"/>
            </a:spcBef>
            <a:spcAft>
              <a:spcPct val="15000"/>
            </a:spcAft>
            <a:buChar char="•"/>
          </a:pPr>
          <a:r>
            <a:rPr lang="en-AU" sz="2000" kern="1200" dirty="0" err="1"/>
            <a:t>Dapat</a:t>
          </a:r>
          <a:r>
            <a:rPr lang="en-AU" sz="2000" kern="1200" dirty="0"/>
            <a:t> </a:t>
          </a:r>
          <a:r>
            <a:rPr lang="en-AU" sz="2000" kern="1200" dirty="0" err="1"/>
            <a:t>dikombinasikan</a:t>
          </a:r>
          <a:r>
            <a:rPr lang="en-AU" sz="2000" kern="1200" dirty="0"/>
            <a:t> dg </a:t>
          </a:r>
          <a:r>
            <a:rPr lang="en-AU" sz="2000" kern="1200" dirty="0" err="1"/>
            <a:t>teknik</a:t>
          </a:r>
          <a:r>
            <a:rPr lang="en-AU" sz="2000" kern="1200" dirty="0"/>
            <a:t> lain</a:t>
          </a:r>
        </a:p>
      </dsp:txBody>
      <dsp:txXfrm>
        <a:off x="1782867" y="1595840"/>
        <a:ext cx="3425323" cy="2172210"/>
      </dsp:txXfrm>
    </dsp:sp>
    <dsp:sp modelId="{29B95550-F5DF-4EF2-A56B-DC55E501AABD}">
      <dsp:nvSpPr>
        <dsp:cNvPr id="0" name=""/>
        <dsp:cNvSpPr/>
      </dsp:nvSpPr>
      <dsp:spPr>
        <a:xfrm>
          <a:off x="3714011" y="2219868"/>
          <a:ext cx="3938093" cy="3938093"/>
        </a:xfrm>
        <a:prstGeom prst="leftCircularArrow">
          <a:avLst>
            <a:gd name="adj1" fmla="val 3183"/>
            <a:gd name="adj2" fmla="val 392035"/>
            <a:gd name="adj3" fmla="val 2167546"/>
            <a:gd name="adj4" fmla="val 9024489"/>
            <a:gd name="adj5" fmla="val 3714"/>
          </a:avLst>
        </a:prstGeom>
        <a:solidFill>
          <a:schemeClr val="dk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A5248725-B18F-4FA2-B882-8A941A3F09A8}">
      <dsp:nvSpPr>
        <dsp:cNvPr id="0" name=""/>
        <dsp:cNvSpPr/>
      </dsp:nvSpPr>
      <dsp:spPr>
        <a:xfrm>
          <a:off x="2506505" y="3835632"/>
          <a:ext cx="3164875" cy="1258566"/>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8105" tIns="52070" rIns="78105" bIns="52070" numCol="1" spcCol="1270" anchor="ctr" anchorCtr="0">
          <a:noAutofit/>
        </a:bodyPr>
        <a:lstStyle/>
        <a:p>
          <a:pPr marL="0" lvl="0" indent="0" algn="ctr" defTabSz="1822450">
            <a:lnSpc>
              <a:spcPct val="90000"/>
            </a:lnSpc>
            <a:spcBef>
              <a:spcPct val="0"/>
            </a:spcBef>
            <a:spcAft>
              <a:spcPct val="35000"/>
            </a:spcAft>
            <a:buNone/>
          </a:pPr>
          <a:r>
            <a:rPr lang="en-AU" sz="4100" kern="1200" dirty="0"/>
            <a:t>TABK</a:t>
          </a:r>
        </a:p>
      </dsp:txBody>
      <dsp:txXfrm>
        <a:off x="2543367" y="3872494"/>
        <a:ext cx="3091151" cy="1184842"/>
      </dsp:txXfrm>
    </dsp:sp>
    <dsp:sp modelId="{7F11CB49-F138-48D7-B497-F7F6080E0E6E}">
      <dsp:nvSpPr>
        <dsp:cNvPr id="0" name=""/>
        <dsp:cNvSpPr/>
      </dsp:nvSpPr>
      <dsp:spPr>
        <a:xfrm>
          <a:off x="6268368" y="1528259"/>
          <a:ext cx="3560485" cy="2936655"/>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AU" sz="2000" kern="1200" dirty="0" err="1"/>
            <a:t>Otomasi</a:t>
          </a:r>
          <a:r>
            <a:rPr lang="en-AU" sz="2000" kern="1200" dirty="0"/>
            <a:t> </a:t>
          </a:r>
          <a:r>
            <a:rPr lang="en-AU" sz="2000" kern="1200" dirty="0" err="1"/>
            <a:t>Pengujian</a:t>
          </a:r>
          <a:r>
            <a:rPr lang="en-AU" sz="2000" kern="1200" dirty="0"/>
            <a:t> TABK</a:t>
          </a:r>
        </a:p>
        <a:p>
          <a:pPr marL="228600" lvl="1" indent="-228600" algn="l" defTabSz="889000">
            <a:lnSpc>
              <a:spcPct val="90000"/>
            </a:lnSpc>
            <a:spcBef>
              <a:spcPct val="0"/>
            </a:spcBef>
            <a:spcAft>
              <a:spcPct val="15000"/>
            </a:spcAft>
            <a:buChar char="•"/>
          </a:pPr>
          <a:r>
            <a:rPr lang="en-AU" sz="2000" kern="1200" dirty="0"/>
            <a:t>CA </a:t>
          </a:r>
          <a:r>
            <a:rPr lang="en-AU" sz="2000" kern="1200" dirty="0" err="1"/>
            <a:t>tanpa</a:t>
          </a:r>
          <a:r>
            <a:rPr lang="en-AU" sz="2000" kern="1200" dirty="0"/>
            <a:t> </a:t>
          </a:r>
          <a:r>
            <a:rPr lang="en-AU" sz="2000" kern="1200" dirty="0" err="1"/>
            <a:t>anomali</a:t>
          </a:r>
          <a:r>
            <a:rPr lang="en-AU" sz="2000" kern="1200" dirty="0"/>
            <a:t> </a:t>
          </a:r>
          <a:r>
            <a:rPr lang="en-AU" sz="2000" kern="1200" dirty="0" err="1"/>
            <a:t>indikasi</a:t>
          </a:r>
          <a:r>
            <a:rPr lang="en-AU" sz="2000" kern="1200" dirty="0"/>
            <a:t> :</a:t>
          </a:r>
        </a:p>
        <a:p>
          <a:pPr marL="457200" lvl="2" indent="-228600" algn="l" defTabSz="889000">
            <a:lnSpc>
              <a:spcPct val="90000"/>
            </a:lnSpc>
            <a:spcBef>
              <a:spcPct val="0"/>
            </a:spcBef>
            <a:spcAft>
              <a:spcPct val="15000"/>
            </a:spcAft>
            <a:buChar char="•"/>
          </a:pPr>
          <a:r>
            <a:rPr lang="en-AU" sz="2000" kern="1200" dirty="0" err="1"/>
            <a:t>Pengendalian</a:t>
          </a:r>
          <a:r>
            <a:rPr lang="en-AU" sz="2000" kern="1200" dirty="0"/>
            <a:t> Intern</a:t>
          </a:r>
        </a:p>
        <a:p>
          <a:pPr marL="457200" lvl="2" indent="-228600" algn="l" defTabSz="889000">
            <a:lnSpc>
              <a:spcPct val="90000"/>
            </a:lnSpc>
            <a:spcBef>
              <a:spcPct val="0"/>
            </a:spcBef>
            <a:spcAft>
              <a:spcPct val="15000"/>
            </a:spcAft>
            <a:buChar char="•"/>
          </a:pPr>
          <a:r>
            <a:rPr lang="en-AU" sz="2000" kern="1200" dirty="0" err="1"/>
            <a:t>Mitigasi</a:t>
          </a:r>
          <a:r>
            <a:rPr lang="en-AU" sz="2000" kern="1200" dirty="0"/>
            <a:t> </a:t>
          </a:r>
          <a:r>
            <a:rPr lang="en-AU" sz="2000" kern="1200" dirty="0" err="1"/>
            <a:t>Risiko</a:t>
          </a:r>
          <a:endParaRPr lang="en-AU" sz="2000" kern="1200" dirty="0"/>
        </a:p>
        <a:p>
          <a:pPr marL="457200" lvl="2" indent="-228600" algn="l" defTabSz="889000">
            <a:lnSpc>
              <a:spcPct val="90000"/>
            </a:lnSpc>
            <a:spcBef>
              <a:spcPct val="0"/>
            </a:spcBef>
            <a:spcAft>
              <a:spcPct val="15000"/>
            </a:spcAft>
            <a:buChar char="•"/>
          </a:pPr>
          <a:r>
            <a:rPr lang="en-AU" sz="2000" kern="1200" dirty="0" err="1"/>
            <a:t>Probis</a:t>
          </a:r>
          <a:r>
            <a:rPr lang="en-AU" sz="2000" kern="1200" dirty="0"/>
            <a:t> </a:t>
          </a:r>
          <a:r>
            <a:rPr lang="en-AU" sz="2000" kern="1200" dirty="0" err="1"/>
            <a:t>bebas</a:t>
          </a:r>
          <a:r>
            <a:rPr lang="en-AU" sz="2000" kern="1200" dirty="0"/>
            <a:t> </a:t>
          </a:r>
          <a:r>
            <a:rPr lang="en-AU" sz="2000" kern="1200" dirty="0" err="1"/>
            <a:t>dari</a:t>
          </a:r>
          <a:r>
            <a:rPr lang="en-AU" sz="2000" kern="1200" dirty="0"/>
            <a:t> </a:t>
          </a:r>
          <a:r>
            <a:rPr lang="en-AU" sz="2000" kern="1200" dirty="0" err="1"/>
            <a:t>kesalahan</a:t>
          </a:r>
          <a:r>
            <a:rPr lang="en-AU" sz="2000" kern="1200" dirty="0"/>
            <a:t> material</a:t>
          </a:r>
        </a:p>
        <a:p>
          <a:pPr marL="457200" lvl="2" indent="-228600" algn="l" defTabSz="889000">
            <a:lnSpc>
              <a:spcPct val="90000"/>
            </a:lnSpc>
            <a:spcBef>
              <a:spcPct val="0"/>
            </a:spcBef>
            <a:spcAft>
              <a:spcPct val="15000"/>
            </a:spcAft>
            <a:buChar char="•"/>
          </a:pPr>
          <a:endParaRPr lang="en-AU" sz="2000" kern="1200" dirty="0"/>
        </a:p>
      </dsp:txBody>
      <dsp:txXfrm>
        <a:off x="6335949" y="2225124"/>
        <a:ext cx="3425323" cy="2172210"/>
      </dsp:txXfrm>
    </dsp:sp>
    <dsp:sp modelId="{B4B6677B-A310-48CE-9207-B6F0ADF08C20}">
      <dsp:nvSpPr>
        <dsp:cNvPr id="0" name=""/>
        <dsp:cNvSpPr/>
      </dsp:nvSpPr>
      <dsp:spPr>
        <a:xfrm>
          <a:off x="7059587" y="898976"/>
          <a:ext cx="3164875" cy="1258566"/>
        </a:xfrm>
        <a:prstGeom prst="roundRect">
          <a:avLst>
            <a:gd name="adj" fmla="val 10000"/>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8105" tIns="52070" rIns="78105" bIns="52070" numCol="1" spcCol="1270" anchor="ctr" anchorCtr="0">
          <a:noAutofit/>
        </a:bodyPr>
        <a:lstStyle/>
        <a:p>
          <a:pPr marL="0" lvl="0" indent="0" algn="ctr" defTabSz="1822450">
            <a:lnSpc>
              <a:spcPct val="90000"/>
            </a:lnSpc>
            <a:spcBef>
              <a:spcPct val="0"/>
            </a:spcBef>
            <a:spcAft>
              <a:spcPct val="35000"/>
            </a:spcAft>
            <a:buNone/>
          </a:pPr>
          <a:r>
            <a:rPr lang="en-AU" sz="4100" kern="1200" dirty="0"/>
            <a:t>Continuous Audit (CA)</a:t>
          </a:r>
        </a:p>
      </dsp:txBody>
      <dsp:txXfrm>
        <a:off x="7096449" y="935838"/>
        <a:ext cx="3091151" cy="11848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AE9C58-F153-48E3-A8A7-C9431EE4EC7A}">
      <dsp:nvSpPr>
        <dsp:cNvPr id="0" name=""/>
        <dsp:cNvSpPr/>
      </dsp:nvSpPr>
      <dsp:spPr>
        <a:xfrm>
          <a:off x="152440" y="3630"/>
          <a:ext cx="4664317" cy="3481814"/>
        </a:xfrm>
        <a:prstGeom prst="round2SameRect">
          <a:avLst>
            <a:gd name="adj1" fmla="val 8000"/>
            <a:gd name="adj2" fmla="val 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5560" tIns="106680" rIns="35560" bIns="35560" numCol="1" spcCol="1270" anchor="t" anchorCtr="0">
          <a:noAutofit/>
        </a:bodyPr>
        <a:lstStyle/>
        <a:p>
          <a:pPr marL="285750" lvl="1" indent="-285750" algn="l" defTabSz="1244600">
            <a:lnSpc>
              <a:spcPct val="90000"/>
            </a:lnSpc>
            <a:spcBef>
              <a:spcPct val="0"/>
            </a:spcBef>
            <a:spcAft>
              <a:spcPct val="15000"/>
            </a:spcAft>
            <a:buChar char="•"/>
          </a:pPr>
          <a:r>
            <a:rPr lang="en-US" sz="2800" kern="1200" dirty="0" err="1"/>
            <a:t>Persamaan</a:t>
          </a:r>
          <a:r>
            <a:rPr lang="en-US" sz="2800" kern="1200" dirty="0"/>
            <a:t> </a:t>
          </a:r>
          <a:r>
            <a:rPr lang="en-US" sz="2800" kern="1200" dirty="0" err="1"/>
            <a:t>Persepsi</a:t>
          </a:r>
          <a:r>
            <a:rPr lang="en-US" sz="2800" kern="1200" dirty="0"/>
            <a:t> </a:t>
          </a:r>
          <a:r>
            <a:rPr lang="en-US" sz="2800" kern="1200" dirty="0" err="1"/>
            <a:t>atas</a:t>
          </a:r>
          <a:r>
            <a:rPr lang="en-US" sz="2800" kern="1200" dirty="0"/>
            <a:t>:</a:t>
          </a:r>
          <a:endParaRPr lang="en-AU" sz="2800" kern="1200" dirty="0"/>
        </a:p>
        <a:p>
          <a:pPr marL="571500" lvl="2" indent="-285750" algn="l" defTabSz="1244600">
            <a:lnSpc>
              <a:spcPct val="90000"/>
            </a:lnSpc>
            <a:spcBef>
              <a:spcPct val="0"/>
            </a:spcBef>
            <a:spcAft>
              <a:spcPct val="15000"/>
            </a:spcAft>
            <a:buChar char="•"/>
          </a:pPr>
          <a:r>
            <a:rPr lang="en-US" sz="2800" kern="1200" dirty="0" err="1"/>
            <a:t>Pemahaman</a:t>
          </a:r>
          <a:r>
            <a:rPr lang="en-US" sz="2800" kern="1200" dirty="0"/>
            <a:t> proses </a:t>
          </a:r>
          <a:r>
            <a:rPr lang="en-US" sz="2800" kern="1200" dirty="0" err="1"/>
            <a:t>bisnis</a:t>
          </a:r>
          <a:endParaRPr lang="en-AU" sz="2800" kern="1200" dirty="0"/>
        </a:p>
        <a:p>
          <a:pPr marL="571500" lvl="2" indent="-285750" algn="l" defTabSz="1244600">
            <a:lnSpc>
              <a:spcPct val="90000"/>
            </a:lnSpc>
            <a:spcBef>
              <a:spcPct val="0"/>
            </a:spcBef>
            <a:spcAft>
              <a:spcPct val="15000"/>
            </a:spcAft>
            <a:buChar char="•"/>
          </a:pPr>
          <a:r>
            <a:rPr lang="en-US" sz="2800" kern="1200" dirty="0"/>
            <a:t>Data dan </a:t>
          </a:r>
          <a:r>
            <a:rPr lang="en-US" sz="2800" kern="1200" dirty="0" err="1"/>
            <a:t>alur</a:t>
          </a:r>
          <a:r>
            <a:rPr lang="en-US" sz="2800" kern="1200" dirty="0"/>
            <a:t> data</a:t>
          </a:r>
          <a:endParaRPr lang="en-AU" sz="2800" kern="1200" dirty="0"/>
        </a:p>
        <a:p>
          <a:pPr marL="571500" lvl="2" indent="-285750" algn="l" defTabSz="1244600">
            <a:lnSpc>
              <a:spcPct val="90000"/>
            </a:lnSpc>
            <a:spcBef>
              <a:spcPct val="0"/>
            </a:spcBef>
            <a:spcAft>
              <a:spcPct val="15000"/>
            </a:spcAft>
            <a:buChar char="•"/>
          </a:pPr>
          <a:r>
            <a:rPr lang="en-US" sz="2800" kern="1200" dirty="0"/>
            <a:t>Script </a:t>
          </a:r>
          <a:r>
            <a:rPr lang="en-US" sz="2800" kern="1200" dirty="0" err="1"/>
            <a:t>pengujian</a:t>
          </a:r>
          <a:endParaRPr lang="en-AU" sz="2800" kern="1200" dirty="0"/>
        </a:p>
      </dsp:txBody>
      <dsp:txXfrm>
        <a:off x="234023" y="85213"/>
        <a:ext cx="4501151" cy="3400231"/>
      </dsp:txXfrm>
    </dsp:sp>
    <dsp:sp modelId="{F79E8FD0-AF1F-4729-BCDE-76432BB8C8EA}">
      <dsp:nvSpPr>
        <dsp:cNvPr id="0" name=""/>
        <dsp:cNvSpPr/>
      </dsp:nvSpPr>
      <dsp:spPr>
        <a:xfrm>
          <a:off x="152440" y="3485444"/>
          <a:ext cx="4664317" cy="149718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0" rIns="46990" bIns="0" numCol="1" spcCol="1270" anchor="ctr" anchorCtr="0">
          <a:noAutofit/>
        </a:bodyPr>
        <a:lstStyle/>
        <a:p>
          <a:pPr marL="0" lvl="0" indent="0" algn="l" defTabSz="1644650">
            <a:lnSpc>
              <a:spcPct val="90000"/>
            </a:lnSpc>
            <a:spcBef>
              <a:spcPct val="0"/>
            </a:spcBef>
            <a:spcAft>
              <a:spcPct val="35000"/>
            </a:spcAft>
            <a:buNone/>
          </a:pPr>
          <a:r>
            <a:rPr lang="en-US" sz="3700" kern="1200" dirty="0" err="1"/>
            <a:t>Konfirmasi</a:t>
          </a:r>
          <a:r>
            <a:rPr lang="en-US" sz="3700" kern="1200" dirty="0"/>
            <a:t> </a:t>
          </a:r>
          <a:r>
            <a:rPr lang="en-US" sz="3700" kern="1200" dirty="0" err="1"/>
            <a:t>perencanaan</a:t>
          </a:r>
          <a:r>
            <a:rPr lang="en-US" sz="3700" kern="1200" dirty="0"/>
            <a:t> </a:t>
          </a:r>
          <a:r>
            <a:rPr lang="en-US" sz="3700" kern="1200" dirty="0" err="1"/>
            <a:t>teknis</a:t>
          </a:r>
          <a:r>
            <a:rPr lang="en-US" sz="3700" kern="1200" dirty="0"/>
            <a:t> CA</a:t>
          </a:r>
          <a:endParaRPr lang="en-AU" sz="3700" kern="1200" dirty="0"/>
        </a:p>
      </dsp:txBody>
      <dsp:txXfrm>
        <a:off x="152440" y="3485444"/>
        <a:ext cx="3284730" cy="1497180"/>
      </dsp:txXfrm>
    </dsp:sp>
    <dsp:sp modelId="{40FC0318-DB82-4AC5-BBF3-BB1ADD509805}">
      <dsp:nvSpPr>
        <dsp:cNvPr id="0" name=""/>
        <dsp:cNvSpPr/>
      </dsp:nvSpPr>
      <dsp:spPr>
        <a:xfrm>
          <a:off x="3569116" y="3723258"/>
          <a:ext cx="1632511" cy="1632511"/>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2B9CE9-C792-4C9F-BC16-1A3548646F85}">
      <dsp:nvSpPr>
        <dsp:cNvPr id="0" name=""/>
        <dsp:cNvSpPr/>
      </dsp:nvSpPr>
      <dsp:spPr>
        <a:xfrm>
          <a:off x="5606072" y="3630"/>
          <a:ext cx="4664317" cy="3481814"/>
        </a:xfrm>
        <a:prstGeom prst="round2SameRect">
          <a:avLst>
            <a:gd name="adj1" fmla="val 8000"/>
            <a:gd name="adj2" fmla="val 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91440" rIns="30480" bIns="30480" numCol="1" spcCol="1270" anchor="t" anchorCtr="0">
          <a:noAutofit/>
        </a:bodyPr>
        <a:lstStyle/>
        <a:p>
          <a:pPr marL="228600" lvl="1" indent="-228600" algn="l" defTabSz="1066800">
            <a:lnSpc>
              <a:spcPct val="90000"/>
            </a:lnSpc>
            <a:spcBef>
              <a:spcPct val="0"/>
            </a:spcBef>
            <a:spcAft>
              <a:spcPct val="15000"/>
            </a:spcAft>
            <a:buChar char="•"/>
          </a:pPr>
          <a:r>
            <a:rPr lang="en-US" sz="2400" kern="1200" dirty="0" err="1"/>
            <a:t>Pemahaman</a:t>
          </a:r>
          <a:r>
            <a:rPr lang="en-US" sz="2400" kern="1200" dirty="0"/>
            <a:t> </a:t>
          </a:r>
          <a:r>
            <a:rPr lang="en-US" sz="2400" kern="1200" dirty="0" err="1"/>
            <a:t>hak</a:t>
          </a:r>
          <a:r>
            <a:rPr lang="en-US" sz="2400" kern="1200" dirty="0"/>
            <a:t> dan </a:t>
          </a:r>
          <a:r>
            <a:rPr lang="en-US" sz="2400" kern="1200" dirty="0" err="1"/>
            <a:t>kewajiban</a:t>
          </a:r>
          <a:r>
            <a:rPr lang="en-US" sz="2400" kern="1200" dirty="0"/>
            <a:t> </a:t>
          </a:r>
          <a:r>
            <a:rPr lang="en-US" sz="2400" kern="1200" dirty="0" err="1"/>
            <a:t>serta</a:t>
          </a:r>
          <a:r>
            <a:rPr lang="en-US" sz="2400" kern="1200" dirty="0"/>
            <a:t> timbal </a:t>
          </a:r>
          <a:r>
            <a:rPr lang="en-US" sz="2400" kern="1200" dirty="0" err="1"/>
            <a:t>balik</a:t>
          </a:r>
          <a:endParaRPr lang="en-AU" sz="2400" kern="1200" dirty="0"/>
        </a:p>
        <a:p>
          <a:pPr marL="228600" lvl="1" indent="-228600" algn="l" defTabSz="1066800">
            <a:lnSpc>
              <a:spcPct val="90000"/>
            </a:lnSpc>
            <a:spcBef>
              <a:spcPct val="0"/>
            </a:spcBef>
            <a:spcAft>
              <a:spcPct val="15000"/>
            </a:spcAft>
            <a:buChar char="•"/>
          </a:pPr>
          <a:r>
            <a:rPr lang="en-US" sz="2400" kern="1200" dirty="0" err="1"/>
            <a:t>Mekanisme</a:t>
          </a:r>
          <a:r>
            <a:rPr lang="en-US" sz="2400" kern="1200" dirty="0"/>
            <a:t> dan </a:t>
          </a:r>
          <a:r>
            <a:rPr lang="en-US" sz="2400" kern="1200" dirty="0" err="1"/>
            <a:t>jadwal</a:t>
          </a:r>
          <a:r>
            <a:rPr lang="en-US" sz="2400" kern="1200" dirty="0"/>
            <a:t> </a:t>
          </a:r>
          <a:r>
            <a:rPr lang="en-US" sz="2400" kern="1200" dirty="0" err="1"/>
            <a:t>pengaliran</a:t>
          </a:r>
          <a:r>
            <a:rPr lang="en-US" sz="2400" kern="1200" dirty="0"/>
            <a:t> data</a:t>
          </a:r>
          <a:endParaRPr lang="en-AU" sz="2400" kern="1200" dirty="0"/>
        </a:p>
        <a:p>
          <a:pPr marL="228600" lvl="1" indent="-228600" algn="l" defTabSz="1066800">
            <a:lnSpc>
              <a:spcPct val="90000"/>
            </a:lnSpc>
            <a:spcBef>
              <a:spcPct val="0"/>
            </a:spcBef>
            <a:spcAft>
              <a:spcPct val="15000"/>
            </a:spcAft>
            <a:buChar char="•"/>
          </a:pPr>
          <a:r>
            <a:rPr lang="en-US" sz="2400" kern="1200" dirty="0" err="1"/>
            <a:t>Jaminan</a:t>
          </a:r>
          <a:r>
            <a:rPr lang="en-US" sz="2400" kern="1200" dirty="0"/>
            <a:t> </a:t>
          </a:r>
          <a:r>
            <a:rPr lang="en-US" sz="2400" kern="1200" dirty="0" err="1"/>
            <a:t>keamanan</a:t>
          </a:r>
          <a:r>
            <a:rPr lang="en-US" sz="2400" kern="1200" dirty="0"/>
            <a:t> dan </a:t>
          </a:r>
          <a:r>
            <a:rPr lang="en-US" sz="2400" kern="1200" dirty="0" err="1"/>
            <a:t>kerahasiaan</a:t>
          </a:r>
          <a:r>
            <a:rPr lang="en-US" sz="2400" kern="1200" dirty="0"/>
            <a:t> data </a:t>
          </a:r>
          <a:r>
            <a:rPr lang="en-US" sz="2400" kern="1200" dirty="0" err="1"/>
            <a:t>sensitif</a:t>
          </a:r>
          <a:endParaRPr lang="en-AU" sz="2400" kern="1200" dirty="0"/>
        </a:p>
        <a:p>
          <a:pPr marL="228600" lvl="1" indent="-228600" algn="l" defTabSz="1066800">
            <a:lnSpc>
              <a:spcPct val="90000"/>
            </a:lnSpc>
            <a:spcBef>
              <a:spcPct val="0"/>
            </a:spcBef>
            <a:spcAft>
              <a:spcPct val="15000"/>
            </a:spcAft>
            <a:buChar char="•"/>
          </a:pPr>
          <a:r>
            <a:rPr lang="en-US" sz="2400" kern="1200" dirty="0" err="1"/>
            <a:t>Mekanisme</a:t>
          </a:r>
          <a:r>
            <a:rPr lang="en-US" sz="2400" kern="1200" dirty="0"/>
            <a:t> </a:t>
          </a:r>
          <a:r>
            <a:rPr lang="en-US" sz="2400" kern="1200" dirty="0" err="1"/>
            <a:t>konfirmasi</a:t>
          </a:r>
          <a:r>
            <a:rPr lang="en-US" sz="2400" kern="1200" dirty="0"/>
            <a:t> </a:t>
          </a:r>
          <a:r>
            <a:rPr lang="en-US" sz="2400" kern="1200" dirty="0" err="1"/>
            <a:t>anomali</a:t>
          </a:r>
          <a:r>
            <a:rPr lang="en-US" sz="2400" kern="1200" dirty="0"/>
            <a:t> dan </a:t>
          </a:r>
          <a:r>
            <a:rPr lang="en-US" sz="2400" kern="1200" dirty="0" err="1"/>
            <a:t>periode</a:t>
          </a:r>
          <a:r>
            <a:rPr lang="en-US" sz="2400" kern="1200" dirty="0"/>
            <a:t> </a:t>
          </a:r>
          <a:r>
            <a:rPr lang="en-US" sz="2400" kern="1200" dirty="0" err="1"/>
            <a:t>pelaporan</a:t>
          </a:r>
          <a:r>
            <a:rPr lang="en-US" sz="2400" kern="1200" dirty="0"/>
            <a:t> </a:t>
          </a:r>
          <a:r>
            <a:rPr lang="en-US" sz="2400" kern="1200" dirty="0" err="1"/>
            <a:t>hasil</a:t>
          </a:r>
          <a:r>
            <a:rPr lang="en-US" sz="2400" kern="1200" dirty="0"/>
            <a:t> CA</a:t>
          </a:r>
          <a:endParaRPr lang="en-AU" sz="2400" kern="1200" dirty="0"/>
        </a:p>
      </dsp:txBody>
      <dsp:txXfrm>
        <a:off x="5687655" y="85213"/>
        <a:ext cx="4501151" cy="3400231"/>
      </dsp:txXfrm>
    </dsp:sp>
    <dsp:sp modelId="{AFD77ECA-A488-41AE-83AE-A6DFED98C83B}">
      <dsp:nvSpPr>
        <dsp:cNvPr id="0" name=""/>
        <dsp:cNvSpPr/>
      </dsp:nvSpPr>
      <dsp:spPr>
        <a:xfrm>
          <a:off x="5606072" y="3485444"/>
          <a:ext cx="4664317" cy="149718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0" rIns="46990" bIns="0" numCol="1" spcCol="1270" anchor="ctr" anchorCtr="0">
          <a:noAutofit/>
        </a:bodyPr>
        <a:lstStyle/>
        <a:p>
          <a:pPr marL="0" lvl="0" indent="0" algn="l" defTabSz="1644650">
            <a:lnSpc>
              <a:spcPct val="90000"/>
            </a:lnSpc>
            <a:spcBef>
              <a:spcPct val="0"/>
            </a:spcBef>
            <a:spcAft>
              <a:spcPct val="35000"/>
            </a:spcAft>
            <a:buNone/>
          </a:pPr>
          <a:r>
            <a:rPr lang="en-US" sz="3700" kern="1200" dirty="0" err="1"/>
            <a:t>Kesepakatan</a:t>
          </a:r>
          <a:r>
            <a:rPr lang="en-US" sz="3700" kern="1200" dirty="0"/>
            <a:t> dg </a:t>
          </a:r>
          <a:r>
            <a:rPr lang="en-US" sz="3700" kern="1200" dirty="0" err="1"/>
            <a:t>klien</a:t>
          </a:r>
          <a:endParaRPr lang="en-AU" sz="3700" kern="1200" dirty="0"/>
        </a:p>
      </dsp:txBody>
      <dsp:txXfrm>
        <a:off x="5606072" y="3485444"/>
        <a:ext cx="3284730" cy="1497180"/>
      </dsp:txXfrm>
    </dsp:sp>
    <dsp:sp modelId="{2046CBCE-9198-4E1B-9B9F-97F3FBF9179F}">
      <dsp:nvSpPr>
        <dsp:cNvPr id="0" name=""/>
        <dsp:cNvSpPr/>
      </dsp:nvSpPr>
      <dsp:spPr>
        <a:xfrm>
          <a:off x="9022748" y="3723258"/>
          <a:ext cx="1632511" cy="1632511"/>
        </a:xfrm>
        <a:prstGeom prst="ellipse">
          <a:avLst/>
        </a:prstGeom>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53016" r="-88984"/>
          </a:stretch>
        </a:blip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6823B8-6EBE-408A-B38C-BB70C2725FE0}">
      <dsp:nvSpPr>
        <dsp:cNvPr id="0" name=""/>
        <dsp:cNvSpPr/>
      </dsp:nvSpPr>
      <dsp:spPr>
        <a:xfrm rot="5400000">
          <a:off x="640633" y="1823459"/>
          <a:ext cx="1927675" cy="3207608"/>
        </a:xfrm>
        <a:prstGeom prst="corner">
          <a:avLst>
            <a:gd name="adj1" fmla="val 16120"/>
            <a:gd name="adj2" fmla="val 16110"/>
          </a:avLst>
        </a:prstGeom>
        <a:gradFill rotWithShape="0">
          <a:gsLst>
            <a:gs pos="0">
              <a:schemeClr val="accent4">
                <a:hueOff val="0"/>
                <a:satOff val="0"/>
                <a:lumOff val="0"/>
                <a:alphaOff val="0"/>
                <a:tint val="100000"/>
                <a:shade val="100000"/>
                <a:satMod val="130000"/>
              </a:schemeClr>
            </a:gs>
            <a:gs pos="100000">
              <a:schemeClr val="accent4">
                <a:hueOff val="0"/>
                <a:satOff val="0"/>
                <a:lumOff val="0"/>
                <a:alphaOff val="0"/>
                <a:tint val="50000"/>
                <a:shade val="100000"/>
                <a:satMod val="350000"/>
              </a:schemeClr>
            </a:gs>
          </a:gsLst>
          <a:lin ang="16200000" scaled="0"/>
        </a:gra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0E7F6444-318C-4580-872B-74FCC115A64A}">
      <dsp:nvSpPr>
        <dsp:cNvPr id="0" name=""/>
        <dsp:cNvSpPr/>
      </dsp:nvSpPr>
      <dsp:spPr>
        <a:xfrm>
          <a:off x="318856" y="2781843"/>
          <a:ext cx="2895846" cy="253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AU" sz="2400" kern="1200" dirty="0" err="1"/>
            <a:t>Deskriptif</a:t>
          </a:r>
          <a:endParaRPr lang="en-AU" sz="2400" kern="1200" dirty="0"/>
        </a:p>
        <a:p>
          <a:pPr marL="171450" lvl="1" indent="-171450" algn="l" defTabSz="844550">
            <a:lnSpc>
              <a:spcPct val="90000"/>
            </a:lnSpc>
            <a:spcBef>
              <a:spcPct val="0"/>
            </a:spcBef>
            <a:spcAft>
              <a:spcPct val="15000"/>
            </a:spcAft>
            <a:buChar char="•"/>
          </a:pPr>
          <a:r>
            <a:rPr lang="en-AU" sz="1900" kern="1200" dirty="0" err="1"/>
            <a:t>Analisis</a:t>
          </a:r>
          <a:r>
            <a:rPr lang="en-AU" sz="1900" kern="1200" dirty="0"/>
            <a:t> </a:t>
          </a:r>
          <a:r>
            <a:rPr lang="en-AU" sz="1900" kern="1200" dirty="0" err="1"/>
            <a:t>Statistik</a:t>
          </a:r>
          <a:endParaRPr lang="en-AU" sz="1900" kern="1200" dirty="0"/>
        </a:p>
        <a:p>
          <a:pPr marL="171450" lvl="1" indent="-171450" algn="l" defTabSz="844550">
            <a:lnSpc>
              <a:spcPct val="90000"/>
            </a:lnSpc>
            <a:spcBef>
              <a:spcPct val="0"/>
            </a:spcBef>
            <a:spcAft>
              <a:spcPct val="15000"/>
            </a:spcAft>
            <a:buChar char="•"/>
          </a:pPr>
          <a:r>
            <a:rPr lang="en-AU" sz="1900" kern="1200" dirty="0" err="1"/>
            <a:t>Visualisasi</a:t>
          </a:r>
          <a:r>
            <a:rPr lang="en-AU" sz="1900" kern="1200" dirty="0"/>
            <a:t> data</a:t>
          </a:r>
        </a:p>
        <a:p>
          <a:pPr marL="171450" lvl="1" indent="-171450" algn="l" defTabSz="844550">
            <a:lnSpc>
              <a:spcPct val="90000"/>
            </a:lnSpc>
            <a:spcBef>
              <a:spcPct val="0"/>
            </a:spcBef>
            <a:spcAft>
              <a:spcPct val="15000"/>
            </a:spcAft>
            <a:buChar char="•"/>
          </a:pPr>
          <a:r>
            <a:rPr lang="en-AU" sz="1900" kern="1200" dirty="0"/>
            <a:t>Unsupervised learning</a:t>
          </a:r>
        </a:p>
      </dsp:txBody>
      <dsp:txXfrm>
        <a:off x="318856" y="2781843"/>
        <a:ext cx="2895846" cy="2538379"/>
      </dsp:txXfrm>
    </dsp:sp>
    <dsp:sp modelId="{42490036-DDF3-4D41-9962-FB87F5785B1C}">
      <dsp:nvSpPr>
        <dsp:cNvPr id="0" name=""/>
        <dsp:cNvSpPr/>
      </dsp:nvSpPr>
      <dsp:spPr>
        <a:xfrm>
          <a:off x="2668317" y="1587312"/>
          <a:ext cx="546386" cy="546386"/>
        </a:xfrm>
        <a:prstGeom prst="triangle">
          <a:avLst>
            <a:gd name="adj" fmla="val 100000"/>
          </a:avLst>
        </a:prstGeom>
        <a:gradFill rotWithShape="0">
          <a:gsLst>
            <a:gs pos="0">
              <a:schemeClr val="accent4">
                <a:hueOff val="2617099"/>
                <a:satOff val="-26"/>
                <a:lumOff val="1421"/>
                <a:alphaOff val="0"/>
                <a:tint val="100000"/>
                <a:shade val="100000"/>
                <a:satMod val="130000"/>
              </a:schemeClr>
            </a:gs>
            <a:gs pos="100000">
              <a:schemeClr val="accent4">
                <a:hueOff val="2617099"/>
                <a:satOff val="-26"/>
                <a:lumOff val="1421"/>
                <a:alphaOff val="0"/>
                <a:tint val="50000"/>
                <a:shade val="100000"/>
                <a:satMod val="350000"/>
              </a:schemeClr>
            </a:gs>
          </a:gsLst>
          <a:lin ang="16200000" scaled="0"/>
        </a:gradFill>
        <a:ln w="9525" cap="flat" cmpd="sng" algn="ctr">
          <a:solidFill>
            <a:schemeClr val="accent4">
              <a:hueOff val="2617099"/>
              <a:satOff val="-26"/>
              <a:lumOff val="1421"/>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A88CA972-930B-4CCF-A613-BBEDF61CC913}">
      <dsp:nvSpPr>
        <dsp:cNvPr id="0" name=""/>
        <dsp:cNvSpPr/>
      </dsp:nvSpPr>
      <dsp:spPr>
        <a:xfrm rot="5400000">
          <a:off x="4185715" y="946225"/>
          <a:ext cx="1927675" cy="3207608"/>
        </a:xfrm>
        <a:prstGeom prst="corner">
          <a:avLst>
            <a:gd name="adj1" fmla="val 16120"/>
            <a:gd name="adj2" fmla="val 16110"/>
          </a:avLst>
        </a:prstGeom>
        <a:gradFill rotWithShape="0">
          <a:gsLst>
            <a:gs pos="0">
              <a:schemeClr val="accent4">
                <a:hueOff val="5234198"/>
                <a:satOff val="-52"/>
                <a:lumOff val="2843"/>
                <a:alphaOff val="0"/>
                <a:tint val="100000"/>
                <a:shade val="100000"/>
                <a:satMod val="130000"/>
              </a:schemeClr>
            </a:gs>
            <a:gs pos="100000">
              <a:schemeClr val="accent4">
                <a:hueOff val="5234198"/>
                <a:satOff val="-52"/>
                <a:lumOff val="2843"/>
                <a:alphaOff val="0"/>
                <a:tint val="50000"/>
                <a:shade val="100000"/>
                <a:satMod val="350000"/>
              </a:schemeClr>
            </a:gs>
          </a:gsLst>
          <a:lin ang="16200000" scaled="0"/>
        </a:gradFill>
        <a:ln w="9525" cap="flat" cmpd="sng" algn="ctr">
          <a:solidFill>
            <a:schemeClr val="accent4">
              <a:hueOff val="5234198"/>
              <a:satOff val="-52"/>
              <a:lumOff val="2843"/>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C2503566-487B-4EE7-BA26-829967C2BC23}">
      <dsp:nvSpPr>
        <dsp:cNvPr id="0" name=""/>
        <dsp:cNvSpPr/>
      </dsp:nvSpPr>
      <dsp:spPr>
        <a:xfrm>
          <a:off x="3863938" y="1904609"/>
          <a:ext cx="2895846" cy="253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AU" sz="2400" kern="1200" dirty="0" err="1"/>
            <a:t>Prediktif</a:t>
          </a:r>
          <a:endParaRPr lang="en-AU" sz="2400" kern="1200" dirty="0"/>
        </a:p>
        <a:p>
          <a:pPr marL="171450" lvl="1" indent="-171450" algn="l" defTabSz="844550">
            <a:lnSpc>
              <a:spcPct val="90000"/>
            </a:lnSpc>
            <a:spcBef>
              <a:spcPct val="0"/>
            </a:spcBef>
            <a:spcAft>
              <a:spcPct val="15000"/>
            </a:spcAft>
            <a:buChar char="•"/>
          </a:pPr>
          <a:r>
            <a:rPr lang="en-AU" sz="1900" kern="1200" dirty="0" err="1"/>
            <a:t>Apa</a:t>
          </a:r>
          <a:r>
            <a:rPr lang="en-AU" sz="1900" kern="1200" dirty="0"/>
            <a:t> yang </a:t>
          </a:r>
          <a:r>
            <a:rPr lang="en-AU" sz="1900" kern="1200" dirty="0" err="1"/>
            <a:t>mungkin</a:t>
          </a:r>
          <a:r>
            <a:rPr lang="en-AU" sz="1900" kern="1200" dirty="0"/>
            <a:t> </a:t>
          </a:r>
          <a:r>
            <a:rPr lang="en-AU" sz="1900" kern="1200" dirty="0" err="1"/>
            <a:t>terjadi</a:t>
          </a:r>
          <a:endParaRPr lang="en-AU" sz="1900" kern="1200" dirty="0"/>
        </a:p>
        <a:p>
          <a:pPr marL="171450" lvl="1" indent="-171450" algn="l" defTabSz="844550">
            <a:lnSpc>
              <a:spcPct val="90000"/>
            </a:lnSpc>
            <a:spcBef>
              <a:spcPct val="0"/>
            </a:spcBef>
            <a:spcAft>
              <a:spcPct val="15000"/>
            </a:spcAft>
            <a:buChar char="•"/>
          </a:pPr>
          <a:r>
            <a:rPr lang="en-AU" sz="1900" kern="1200" dirty="0"/>
            <a:t>Machine Learning</a:t>
          </a:r>
        </a:p>
      </dsp:txBody>
      <dsp:txXfrm>
        <a:off x="3863938" y="1904609"/>
        <a:ext cx="2895846" cy="2538379"/>
      </dsp:txXfrm>
    </dsp:sp>
    <dsp:sp modelId="{DCDAF0F3-24B7-4CE1-80A5-42F3BEA5A7A7}">
      <dsp:nvSpPr>
        <dsp:cNvPr id="0" name=""/>
        <dsp:cNvSpPr/>
      </dsp:nvSpPr>
      <dsp:spPr>
        <a:xfrm>
          <a:off x="6213399" y="710077"/>
          <a:ext cx="546386" cy="546386"/>
        </a:xfrm>
        <a:prstGeom prst="triangle">
          <a:avLst>
            <a:gd name="adj" fmla="val 100000"/>
          </a:avLst>
        </a:prstGeom>
        <a:gradFill rotWithShape="0">
          <a:gsLst>
            <a:gs pos="0">
              <a:schemeClr val="accent4">
                <a:hueOff val="7851296"/>
                <a:satOff val="-78"/>
                <a:lumOff val="4264"/>
                <a:alphaOff val="0"/>
                <a:tint val="100000"/>
                <a:shade val="100000"/>
                <a:satMod val="130000"/>
              </a:schemeClr>
            </a:gs>
            <a:gs pos="100000">
              <a:schemeClr val="accent4">
                <a:hueOff val="7851296"/>
                <a:satOff val="-78"/>
                <a:lumOff val="4264"/>
                <a:alphaOff val="0"/>
                <a:tint val="50000"/>
                <a:shade val="100000"/>
                <a:satMod val="350000"/>
              </a:schemeClr>
            </a:gs>
          </a:gsLst>
          <a:lin ang="16200000" scaled="0"/>
        </a:gradFill>
        <a:ln w="9525" cap="flat" cmpd="sng" algn="ctr">
          <a:solidFill>
            <a:schemeClr val="accent4">
              <a:hueOff val="7851296"/>
              <a:satOff val="-78"/>
              <a:lumOff val="4264"/>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A9ADD693-4439-4F68-80F7-5B748821ED68}">
      <dsp:nvSpPr>
        <dsp:cNvPr id="0" name=""/>
        <dsp:cNvSpPr/>
      </dsp:nvSpPr>
      <dsp:spPr>
        <a:xfrm rot="5400000">
          <a:off x="7730797" y="68991"/>
          <a:ext cx="1927675" cy="3207608"/>
        </a:xfrm>
        <a:prstGeom prst="corner">
          <a:avLst>
            <a:gd name="adj1" fmla="val 16120"/>
            <a:gd name="adj2" fmla="val 16110"/>
          </a:avLst>
        </a:prstGeom>
        <a:gradFill rotWithShape="0">
          <a:gsLst>
            <a:gs pos="0">
              <a:schemeClr val="accent4">
                <a:hueOff val="10468395"/>
                <a:satOff val="-104"/>
                <a:lumOff val="5685"/>
                <a:alphaOff val="0"/>
                <a:tint val="100000"/>
                <a:shade val="100000"/>
                <a:satMod val="130000"/>
              </a:schemeClr>
            </a:gs>
            <a:gs pos="100000">
              <a:schemeClr val="accent4">
                <a:hueOff val="10468395"/>
                <a:satOff val="-104"/>
                <a:lumOff val="5685"/>
                <a:alphaOff val="0"/>
                <a:tint val="50000"/>
                <a:shade val="100000"/>
                <a:satMod val="350000"/>
              </a:schemeClr>
            </a:gs>
          </a:gsLst>
          <a:lin ang="16200000" scaled="0"/>
        </a:gradFill>
        <a:ln w="9525" cap="flat" cmpd="sng" algn="ctr">
          <a:solidFill>
            <a:schemeClr val="accent4">
              <a:hueOff val="10468395"/>
              <a:satOff val="-104"/>
              <a:lumOff val="5685"/>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sp>
    <dsp:sp modelId="{3FDBCA45-45BA-4853-A59C-6D5867B74F37}">
      <dsp:nvSpPr>
        <dsp:cNvPr id="0" name=""/>
        <dsp:cNvSpPr/>
      </dsp:nvSpPr>
      <dsp:spPr>
        <a:xfrm>
          <a:off x="7409020" y="1027375"/>
          <a:ext cx="2895846" cy="253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AU" sz="2400" kern="1200" dirty="0" err="1"/>
            <a:t>Preskriptif</a:t>
          </a:r>
          <a:endParaRPr lang="en-AU" sz="2400" kern="1200" dirty="0"/>
        </a:p>
        <a:p>
          <a:pPr marL="171450" lvl="1" indent="-171450" algn="l" defTabSz="844550">
            <a:lnSpc>
              <a:spcPct val="90000"/>
            </a:lnSpc>
            <a:spcBef>
              <a:spcPct val="0"/>
            </a:spcBef>
            <a:spcAft>
              <a:spcPct val="15000"/>
            </a:spcAft>
            <a:buChar char="•"/>
          </a:pPr>
          <a:r>
            <a:rPr lang="en-AU" sz="1900" kern="1200" dirty="0"/>
            <a:t>Insight </a:t>
          </a:r>
          <a:r>
            <a:rPr lang="en-AU" sz="1900" kern="1200" dirty="0" err="1"/>
            <a:t>menjadi</a:t>
          </a:r>
          <a:r>
            <a:rPr lang="en-AU" sz="1900" kern="1200" dirty="0"/>
            <a:t> </a:t>
          </a:r>
          <a:r>
            <a:rPr lang="en-AU" sz="1900" kern="1200" dirty="0" err="1"/>
            <a:t>rekomendasi</a:t>
          </a:r>
          <a:r>
            <a:rPr lang="en-AU" sz="1900" kern="1200" dirty="0"/>
            <a:t> Tindakan</a:t>
          </a:r>
        </a:p>
        <a:p>
          <a:pPr marL="171450" lvl="1" indent="-171450" algn="l" defTabSz="844550">
            <a:lnSpc>
              <a:spcPct val="90000"/>
            </a:lnSpc>
            <a:spcBef>
              <a:spcPct val="0"/>
            </a:spcBef>
            <a:spcAft>
              <a:spcPct val="15000"/>
            </a:spcAft>
            <a:buChar char="•"/>
          </a:pPr>
          <a:r>
            <a:rPr lang="en-AU" sz="1900" kern="1200" dirty="0" err="1"/>
            <a:t>Pengembangan</a:t>
          </a:r>
          <a:r>
            <a:rPr lang="en-AU" sz="1900" kern="1200" dirty="0"/>
            <a:t> </a:t>
          </a:r>
          <a:r>
            <a:rPr lang="en-AU" sz="1900" kern="1200" dirty="0" err="1"/>
            <a:t>analisis</a:t>
          </a:r>
          <a:r>
            <a:rPr lang="en-AU" sz="1900" kern="1200" dirty="0"/>
            <a:t> </a:t>
          </a:r>
          <a:r>
            <a:rPr lang="en-AU" sz="1900" kern="1200" dirty="0" err="1"/>
            <a:t>prediktif</a:t>
          </a:r>
          <a:endParaRPr lang="en-AU" sz="1900" kern="1200" dirty="0"/>
        </a:p>
        <a:p>
          <a:pPr marL="171450" lvl="1" indent="-171450" algn="l" defTabSz="844550">
            <a:lnSpc>
              <a:spcPct val="90000"/>
            </a:lnSpc>
            <a:spcBef>
              <a:spcPct val="0"/>
            </a:spcBef>
            <a:spcAft>
              <a:spcPct val="15000"/>
            </a:spcAft>
            <a:buChar char="•"/>
          </a:pPr>
          <a:endParaRPr lang="en-AU" sz="1900" kern="1200" dirty="0"/>
        </a:p>
        <a:p>
          <a:pPr marL="171450" lvl="1" indent="-171450" algn="l" defTabSz="844550">
            <a:lnSpc>
              <a:spcPct val="90000"/>
            </a:lnSpc>
            <a:spcBef>
              <a:spcPct val="0"/>
            </a:spcBef>
            <a:spcAft>
              <a:spcPct val="15000"/>
            </a:spcAft>
            <a:buChar char="•"/>
          </a:pPr>
          <a:endParaRPr lang="en-AU" sz="1900" kern="1200" dirty="0"/>
        </a:p>
      </dsp:txBody>
      <dsp:txXfrm>
        <a:off x="7409020" y="1027375"/>
        <a:ext cx="2895846" cy="25383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199846-EC93-4FB5-9656-FCA210D41817}">
      <dsp:nvSpPr>
        <dsp:cNvPr id="0" name=""/>
        <dsp:cNvSpPr/>
      </dsp:nvSpPr>
      <dsp:spPr>
        <a:xfrm>
          <a:off x="0" y="599249"/>
          <a:ext cx="2835677" cy="915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73660" rIns="206248" bIns="73660" numCol="1" spcCol="1270" anchor="ctr" anchorCtr="0">
          <a:noAutofit/>
        </a:bodyPr>
        <a:lstStyle/>
        <a:p>
          <a:pPr marL="0" lvl="0" indent="0" algn="r" defTabSz="1289050">
            <a:lnSpc>
              <a:spcPct val="90000"/>
            </a:lnSpc>
            <a:spcBef>
              <a:spcPct val="0"/>
            </a:spcBef>
            <a:spcAft>
              <a:spcPct val="35000"/>
            </a:spcAft>
            <a:buNone/>
          </a:pPr>
          <a:r>
            <a:rPr lang="en-AU" sz="2900" kern="1200" dirty="0"/>
            <a:t>Core Audit Business</a:t>
          </a:r>
        </a:p>
      </dsp:txBody>
      <dsp:txXfrm>
        <a:off x="0" y="599249"/>
        <a:ext cx="2835677" cy="915131"/>
      </dsp:txXfrm>
    </dsp:sp>
    <dsp:sp modelId="{3D1374EA-7C76-4A1E-BEF4-AEFB421E9F10}">
      <dsp:nvSpPr>
        <dsp:cNvPr id="0" name=""/>
        <dsp:cNvSpPr/>
      </dsp:nvSpPr>
      <dsp:spPr>
        <a:xfrm>
          <a:off x="2835677" y="113086"/>
          <a:ext cx="567135" cy="1887458"/>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53622C-1623-46C6-BDFE-A6D903B5A7FD}">
      <dsp:nvSpPr>
        <dsp:cNvPr id="0" name=""/>
        <dsp:cNvSpPr/>
      </dsp:nvSpPr>
      <dsp:spPr>
        <a:xfrm>
          <a:off x="3629667" y="113086"/>
          <a:ext cx="7713043" cy="1887458"/>
        </a:xfrm>
        <a:prstGeom prst="rect">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0490" tIns="110490" rIns="110490" bIns="110490" numCol="1" spcCol="1270" anchor="ctr" anchorCtr="0">
          <a:noAutofit/>
        </a:bodyPr>
        <a:lstStyle/>
        <a:p>
          <a:pPr marL="285750" lvl="1" indent="-285750" algn="l" defTabSz="1289050">
            <a:lnSpc>
              <a:spcPct val="90000"/>
            </a:lnSpc>
            <a:spcBef>
              <a:spcPct val="0"/>
            </a:spcBef>
            <a:spcAft>
              <a:spcPct val="15000"/>
            </a:spcAft>
            <a:buChar char="•"/>
          </a:pPr>
          <a:r>
            <a:rPr lang="en-AU" sz="2900" kern="1200" dirty="0"/>
            <a:t>Fraud Detection</a:t>
          </a:r>
        </a:p>
        <a:p>
          <a:pPr marL="285750" lvl="1" indent="-285750" algn="l" defTabSz="1289050">
            <a:lnSpc>
              <a:spcPct val="90000"/>
            </a:lnSpc>
            <a:spcBef>
              <a:spcPct val="0"/>
            </a:spcBef>
            <a:spcAft>
              <a:spcPct val="15000"/>
            </a:spcAft>
            <a:buChar char="•"/>
          </a:pPr>
          <a:r>
            <a:rPr lang="en-AU" sz="2900" kern="1200" dirty="0"/>
            <a:t>Use previous historical fraudulent cases to predict future transaction</a:t>
          </a:r>
        </a:p>
        <a:p>
          <a:pPr marL="285750" lvl="1" indent="-285750" algn="l" defTabSz="1289050">
            <a:lnSpc>
              <a:spcPct val="90000"/>
            </a:lnSpc>
            <a:spcBef>
              <a:spcPct val="0"/>
            </a:spcBef>
            <a:spcAft>
              <a:spcPct val="15000"/>
            </a:spcAft>
            <a:buChar char="•"/>
          </a:pPr>
          <a:r>
            <a:rPr lang="en-AU" sz="2900" kern="1200" dirty="0"/>
            <a:t>Usually in form of a supervised learning</a:t>
          </a:r>
        </a:p>
      </dsp:txBody>
      <dsp:txXfrm>
        <a:off x="3629667" y="113086"/>
        <a:ext cx="7713043" cy="1887458"/>
      </dsp:txXfrm>
    </dsp:sp>
    <dsp:sp modelId="{9A327DAF-86A9-4EEB-B1E9-414171852A7C}">
      <dsp:nvSpPr>
        <dsp:cNvPr id="0" name=""/>
        <dsp:cNvSpPr/>
      </dsp:nvSpPr>
      <dsp:spPr>
        <a:xfrm>
          <a:off x="0" y="2571482"/>
          <a:ext cx="2838449" cy="574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73660" rIns="206248" bIns="73660" numCol="1" spcCol="1270" anchor="ctr" anchorCtr="0">
          <a:noAutofit/>
        </a:bodyPr>
        <a:lstStyle/>
        <a:p>
          <a:pPr marL="0" lvl="0" indent="0" algn="r" defTabSz="1289050">
            <a:lnSpc>
              <a:spcPct val="90000"/>
            </a:lnSpc>
            <a:spcBef>
              <a:spcPct val="0"/>
            </a:spcBef>
            <a:spcAft>
              <a:spcPct val="35000"/>
            </a:spcAft>
            <a:buNone/>
          </a:pPr>
          <a:r>
            <a:rPr lang="en-AU" sz="2900" kern="1200" dirty="0"/>
            <a:t>Audit Supports</a:t>
          </a:r>
        </a:p>
      </dsp:txBody>
      <dsp:txXfrm>
        <a:off x="0" y="2571482"/>
        <a:ext cx="2838449" cy="574200"/>
      </dsp:txXfrm>
    </dsp:sp>
    <dsp:sp modelId="{0A06CF6D-74DC-4C4F-9C31-F5AAC2394308}">
      <dsp:nvSpPr>
        <dsp:cNvPr id="0" name=""/>
        <dsp:cNvSpPr/>
      </dsp:nvSpPr>
      <dsp:spPr>
        <a:xfrm>
          <a:off x="2838449" y="2104944"/>
          <a:ext cx="567689" cy="1507275"/>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7DA7D85-A5FD-4449-964E-FDB94442B648}">
      <dsp:nvSpPr>
        <dsp:cNvPr id="0" name=""/>
        <dsp:cNvSpPr/>
      </dsp:nvSpPr>
      <dsp:spPr>
        <a:xfrm>
          <a:off x="3633215" y="2104944"/>
          <a:ext cx="7720583" cy="1507275"/>
        </a:xfrm>
        <a:prstGeom prst="rect">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0490" tIns="110490" rIns="110490" bIns="110490" numCol="1" spcCol="1270" anchor="ctr" anchorCtr="0">
          <a:noAutofit/>
        </a:bodyPr>
        <a:lstStyle/>
        <a:p>
          <a:pPr marL="285750" lvl="1" indent="-285750" algn="l" defTabSz="1289050">
            <a:lnSpc>
              <a:spcPct val="90000"/>
            </a:lnSpc>
            <a:spcBef>
              <a:spcPct val="0"/>
            </a:spcBef>
            <a:spcAft>
              <a:spcPct val="15000"/>
            </a:spcAft>
            <a:buChar char="•"/>
          </a:pPr>
          <a:r>
            <a:rPr lang="en-AU" sz="2900" kern="1200" dirty="0"/>
            <a:t>Topic modelling</a:t>
          </a:r>
        </a:p>
        <a:p>
          <a:pPr marL="285750" lvl="1" indent="-285750" algn="l" defTabSz="1289050">
            <a:lnSpc>
              <a:spcPct val="90000"/>
            </a:lnSpc>
            <a:spcBef>
              <a:spcPct val="0"/>
            </a:spcBef>
            <a:spcAft>
              <a:spcPct val="15000"/>
            </a:spcAft>
            <a:buChar char="•"/>
          </a:pPr>
          <a:r>
            <a:rPr lang="en-AU" sz="2900" kern="1200" dirty="0"/>
            <a:t>Data Extraction from documents</a:t>
          </a:r>
        </a:p>
        <a:p>
          <a:pPr marL="285750" lvl="1" indent="-285750" algn="l" defTabSz="1289050">
            <a:lnSpc>
              <a:spcPct val="90000"/>
            </a:lnSpc>
            <a:spcBef>
              <a:spcPct val="0"/>
            </a:spcBef>
            <a:spcAft>
              <a:spcPct val="15000"/>
            </a:spcAft>
            <a:buChar char="•"/>
          </a:pPr>
          <a:r>
            <a:rPr lang="en-AU" sz="2900" kern="1200" dirty="0"/>
            <a:t>Makes auditing tasks easier</a:t>
          </a:r>
        </a:p>
      </dsp:txBody>
      <dsp:txXfrm>
        <a:off x="3633215" y="2104944"/>
        <a:ext cx="7720583" cy="1507275"/>
      </dsp:txXfrm>
    </dsp:sp>
    <dsp:sp modelId="{1B1F7189-144C-4C73-B2F7-FC337EFFA929}">
      <dsp:nvSpPr>
        <dsp:cNvPr id="0" name=""/>
        <dsp:cNvSpPr/>
      </dsp:nvSpPr>
      <dsp:spPr>
        <a:xfrm>
          <a:off x="0" y="3817553"/>
          <a:ext cx="2835677" cy="1291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73660" rIns="206248" bIns="73660" numCol="1" spcCol="1270" anchor="ctr" anchorCtr="0">
          <a:noAutofit/>
        </a:bodyPr>
        <a:lstStyle/>
        <a:p>
          <a:pPr marL="0" lvl="0" indent="0" algn="r" defTabSz="1289050">
            <a:lnSpc>
              <a:spcPct val="90000"/>
            </a:lnSpc>
            <a:spcBef>
              <a:spcPct val="0"/>
            </a:spcBef>
            <a:spcAft>
              <a:spcPct val="35000"/>
            </a:spcAft>
            <a:buNone/>
          </a:pPr>
          <a:r>
            <a:rPr lang="en-AU" sz="2900" kern="1200" dirty="0"/>
            <a:t>Auditee’s Business Process</a:t>
          </a:r>
        </a:p>
      </dsp:txBody>
      <dsp:txXfrm>
        <a:off x="0" y="3817553"/>
        <a:ext cx="2835677" cy="1291950"/>
      </dsp:txXfrm>
    </dsp:sp>
    <dsp:sp modelId="{6761E4E8-7175-4F57-972E-144C94EE76F1}">
      <dsp:nvSpPr>
        <dsp:cNvPr id="0" name=""/>
        <dsp:cNvSpPr/>
      </dsp:nvSpPr>
      <dsp:spPr>
        <a:xfrm>
          <a:off x="2835677" y="3716619"/>
          <a:ext cx="567135" cy="149381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A5B2B8A-0615-482E-AFDE-CD24296CDD11}">
      <dsp:nvSpPr>
        <dsp:cNvPr id="0" name=""/>
        <dsp:cNvSpPr/>
      </dsp:nvSpPr>
      <dsp:spPr>
        <a:xfrm>
          <a:off x="3629667" y="3716619"/>
          <a:ext cx="7713043" cy="1493817"/>
        </a:xfrm>
        <a:prstGeom prst="rect">
          <a:avLst/>
        </a:prstGeom>
        <a:solidFill>
          <a:schemeClr val="lt1">
            <a:hueOff val="0"/>
            <a:satOff val="0"/>
            <a:lumOff val="0"/>
            <a:alphaOff val="0"/>
          </a:schemeClr>
        </a:solidFill>
        <a:ln w="38100" cap="flat" cmpd="sng" algn="ctr">
          <a:solidFill>
            <a:schemeClr val="accent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0490" tIns="110490" rIns="110490" bIns="110490" numCol="1" spcCol="1270" anchor="ctr" anchorCtr="0">
          <a:noAutofit/>
        </a:bodyPr>
        <a:lstStyle/>
        <a:p>
          <a:pPr marL="285750" lvl="1" indent="-285750" algn="l" defTabSz="1289050">
            <a:lnSpc>
              <a:spcPct val="90000"/>
            </a:lnSpc>
            <a:spcBef>
              <a:spcPct val="0"/>
            </a:spcBef>
            <a:spcAft>
              <a:spcPct val="15000"/>
            </a:spcAft>
            <a:buChar char="•"/>
          </a:pPr>
          <a:r>
            <a:rPr lang="en-AU" sz="2900" kern="1200" dirty="0"/>
            <a:t>Auditor is being a consultant</a:t>
          </a:r>
        </a:p>
        <a:p>
          <a:pPr marL="285750" lvl="1" indent="-285750" algn="l" defTabSz="1289050">
            <a:lnSpc>
              <a:spcPct val="90000"/>
            </a:lnSpc>
            <a:spcBef>
              <a:spcPct val="0"/>
            </a:spcBef>
            <a:spcAft>
              <a:spcPct val="15000"/>
            </a:spcAft>
            <a:buChar char="•"/>
          </a:pPr>
          <a:r>
            <a:rPr lang="en-AU" sz="2900" kern="1200" dirty="0"/>
            <a:t>Propose a ML approach to do business</a:t>
          </a:r>
        </a:p>
        <a:p>
          <a:pPr marL="285750" lvl="1" indent="-285750" algn="l" defTabSz="1289050">
            <a:lnSpc>
              <a:spcPct val="90000"/>
            </a:lnSpc>
            <a:spcBef>
              <a:spcPct val="0"/>
            </a:spcBef>
            <a:spcAft>
              <a:spcPct val="15000"/>
            </a:spcAft>
            <a:buChar char="•"/>
          </a:pPr>
          <a:r>
            <a:rPr lang="en-AU" sz="2900" kern="1200" dirty="0"/>
            <a:t>Applied only on organization’s Internal Audit</a:t>
          </a:r>
        </a:p>
      </dsp:txBody>
      <dsp:txXfrm>
        <a:off x="3629667" y="3716619"/>
        <a:ext cx="7713043" cy="1493817"/>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783789776"/>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Google Shape;306;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07" name="Google Shape;30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79850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6</a:t>
            </a:fld>
            <a:endParaRPr lang="en-US" dirty="0"/>
          </a:p>
        </p:txBody>
      </p:sp>
    </p:spTree>
    <p:extLst>
      <p:ext uri="{BB962C8B-B14F-4D97-AF65-F5344CB8AC3E}">
        <p14:creationId xmlns:p14="http://schemas.microsoft.com/office/powerpoint/2010/main" val="1312052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E1883C-CCF7-46E7-BBED-6C032733D92F}" type="slidenum">
              <a:rPr lang="en-US" smtClean="0"/>
              <a:t>7</a:t>
            </a:fld>
            <a:endParaRPr lang="en-US" dirty="0"/>
          </a:p>
        </p:txBody>
      </p:sp>
    </p:spTree>
    <p:extLst>
      <p:ext uri="{BB962C8B-B14F-4D97-AF65-F5344CB8AC3E}">
        <p14:creationId xmlns:p14="http://schemas.microsoft.com/office/powerpoint/2010/main" val="1017332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60D3C-E6CF-8440-9C23-E3D7848872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816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AU" dirty="0" err="1"/>
              <a:t>Standar</a:t>
            </a:r>
            <a:r>
              <a:rPr lang="en-AU" dirty="0"/>
              <a:t> </a:t>
            </a:r>
            <a:r>
              <a:rPr lang="en-AU" dirty="0" err="1"/>
              <a:t>informasi</a:t>
            </a:r>
            <a:r>
              <a:rPr lang="en-AU" dirty="0"/>
              <a:t> anomaly yang </a:t>
            </a:r>
            <a:r>
              <a:rPr lang="en-AU" dirty="0" err="1"/>
              <a:t>ditampilkan</a:t>
            </a:r>
            <a:r>
              <a:rPr lang="en-AU" dirty="0"/>
              <a:t> pada dashboard </a:t>
            </a:r>
            <a:r>
              <a:rPr lang="en-AU" dirty="0" err="1"/>
              <a:t>untuk</a:t>
            </a:r>
            <a:r>
              <a:rPr lang="en-AU" dirty="0"/>
              <a:t> </a:t>
            </a:r>
            <a:r>
              <a:rPr lang="en-AU" dirty="0" err="1"/>
              <a:t>pemanfaatan</a:t>
            </a:r>
            <a:r>
              <a:rPr lang="en-AU" dirty="0"/>
              <a:t> CA-CM</a:t>
            </a:r>
          </a:p>
        </p:txBody>
      </p:sp>
    </p:spTree>
    <p:extLst>
      <p:ext uri="{BB962C8B-B14F-4D97-AF65-F5344CB8AC3E}">
        <p14:creationId xmlns:p14="http://schemas.microsoft.com/office/powerpoint/2010/main" val="8710311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D" dirty="0"/>
          </a:p>
        </p:txBody>
      </p:sp>
    </p:spTree>
    <p:extLst>
      <p:ext uri="{BB962C8B-B14F-4D97-AF65-F5344CB8AC3E}">
        <p14:creationId xmlns:p14="http://schemas.microsoft.com/office/powerpoint/2010/main" val="2997970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pic>
        <p:nvPicPr>
          <p:cNvPr id="10" name="Google Shape;10;p2"/>
          <p:cNvPicPr preferRelativeResize="0"/>
          <p:nvPr/>
        </p:nvPicPr>
        <p:blipFill rotWithShape="1">
          <a:blip r:embed="rId2">
            <a:alphaModFix/>
          </a:blip>
          <a:srcRect l="53083" r="9597" b="480"/>
          <a:stretch/>
        </p:blipFill>
        <p:spPr>
          <a:xfrm rot="-5400000">
            <a:off x="2667001" y="-2667003"/>
            <a:ext cx="6857999" cy="12192001"/>
          </a:xfrm>
          <a:prstGeom prst="rect">
            <a:avLst/>
          </a:prstGeom>
          <a:noFill/>
          <a:ln>
            <a:noFill/>
          </a:ln>
        </p:spPr>
      </p:pic>
      <p:sp>
        <p:nvSpPr>
          <p:cNvPr id="11" name="Google Shape;11;p2"/>
          <p:cNvSpPr/>
          <p:nvPr/>
        </p:nvSpPr>
        <p:spPr>
          <a:xfrm>
            <a:off x="0" y="-3"/>
            <a:ext cx="12192000" cy="6858000"/>
          </a:xfrm>
          <a:prstGeom prst="rect">
            <a:avLst/>
          </a:prstGeom>
          <a:solidFill>
            <a:schemeClr val="dk1">
              <a:alpha val="92549"/>
            </a:schemeClr>
          </a:solidFill>
          <a:ln w="12700" cap="flat" cmpd="sng">
            <a:solidFill>
              <a:srgbClr val="2375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2"/>
          <p:cNvSpPr txBox="1">
            <a:spLocks noGrp="1"/>
          </p:cNvSpPr>
          <p:nvPr>
            <p:ph type="ctrTitle"/>
          </p:nvPr>
        </p:nvSpPr>
        <p:spPr>
          <a:xfrm>
            <a:off x="1524000" y="1803251"/>
            <a:ext cx="9144000" cy="1909763"/>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000"/>
              <a:buFont typeface="Roboto"/>
              <a:buNone/>
              <a:defRPr sz="4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2"/>
          <p:cNvSpPr txBox="1">
            <a:spLocks noGrp="1"/>
          </p:cNvSpPr>
          <p:nvPr>
            <p:ph type="subTitle" idx="1"/>
          </p:nvPr>
        </p:nvSpPr>
        <p:spPr>
          <a:xfrm>
            <a:off x="1524000" y="3805089"/>
            <a:ext cx="9144000" cy="86147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accent2"/>
              </a:buClr>
              <a:buSzPts val="1800"/>
              <a:buNone/>
              <a:defRPr sz="1800" b="1">
                <a:solidFill>
                  <a:schemeClr val="accent2"/>
                </a:solidFill>
                <a:latin typeface="Arial"/>
                <a:ea typeface="Arial"/>
                <a:cs typeface="Arial"/>
                <a:sym typeface="Aria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14" name="Google Shape;14;p2"/>
          <p:cNvPicPr preferRelativeResize="0"/>
          <p:nvPr/>
        </p:nvPicPr>
        <p:blipFill rotWithShape="1">
          <a:blip r:embed="rId3">
            <a:alphaModFix/>
          </a:blip>
          <a:srcRect l="-6297" r="-28189"/>
          <a:stretch/>
        </p:blipFill>
        <p:spPr>
          <a:xfrm>
            <a:off x="-320619" y="-349019"/>
            <a:ext cx="3728837" cy="1412122"/>
          </a:xfrm>
          <a:prstGeom prst="rect">
            <a:avLst/>
          </a:prstGeom>
          <a:noFill/>
          <a:ln>
            <a:noFill/>
          </a:ln>
        </p:spPr>
      </p:pic>
      <p:pic>
        <p:nvPicPr>
          <p:cNvPr id="15" name="Google Shape;15;p2"/>
          <p:cNvPicPr preferRelativeResize="0"/>
          <p:nvPr/>
        </p:nvPicPr>
        <p:blipFill rotWithShape="1">
          <a:blip r:embed="rId4">
            <a:alphaModFix/>
          </a:blip>
          <a:srcRect/>
          <a:stretch/>
        </p:blipFill>
        <p:spPr>
          <a:xfrm>
            <a:off x="10720230" y="230185"/>
            <a:ext cx="1265734" cy="561924"/>
          </a:xfrm>
          <a:prstGeom prst="rect">
            <a:avLst/>
          </a:prstGeom>
          <a:noFill/>
          <a:ln>
            <a:noFill/>
          </a:ln>
        </p:spPr>
      </p:pic>
      <p:pic>
        <p:nvPicPr>
          <p:cNvPr id="16" name="Google Shape;16;p2"/>
          <p:cNvPicPr preferRelativeResize="0"/>
          <p:nvPr/>
        </p:nvPicPr>
        <p:blipFill rotWithShape="1">
          <a:blip r:embed="rId5">
            <a:alphaModFix/>
          </a:blip>
          <a:srcRect l="-42807" t="-85927" r="-24317" b="-32314"/>
          <a:stretch/>
        </p:blipFill>
        <p:spPr>
          <a:xfrm>
            <a:off x="10283001" y="5677705"/>
            <a:ext cx="2140192" cy="1226329"/>
          </a:xfrm>
          <a:prstGeom prst="rect">
            <a:avLst/>
          </a:prstGeom>
          <a:noFill/>
          <a:ln>
            <a:noFill/>
          </a:ln>
        </p:spPr>
      </p:pic>
      <p:pic>
        <p:nvPicPr>
          <p:cNvPr id="17" name="Google Shape;17;p2"/>
          <p:cNvPicPr preferRelativeResize="0"/>
          <p:nvPr/>
        </p:nvPicPr>
        <p:blipFill rotWithShape="1">
          <a:blip r:embed="rId6">
            <a:alphaModFix amt="35000"/>
          </a:blip>
          <a:srcRect/>
          <a:stretch/>
        </p:blipFill>
        <p:spPr>
          <a:xfrm>
            <a:off x="-4937" y="-206958"/>
            <a:ext cx="12571813" cy="7100462"/>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7"/>
        <p:cNvGrpSpPr/>
        <p:nvPr/>
      </p:nvGrpSpPr>
      <p:grpSpPr>
        <a:xfrm>
          <a:off x="0" y="0"/>
          <a:ext cx="0" cy="0"/>
          <a:chOff x="0" y="0"/>
          <a:chExt cx="0" cy="0"/>
        </a:xfrm>
      </p:grpSpPr>
      <p:pic>
        <p:nvPicPr>
          <p:cNvPr id="108" name="Google Shape;108;p11"/>
          <p:cNvPicPr preferRelativeResize="0"/>
          <p:nvPr/>
        </p:nvPicPr>
        <p:blipFill rotWithShape="1">
          <a:blip r:embed="rId2">
            <a:alphaModFix amt="20000"/>
          </a:blip>
          <a:srcRect l="765" t="663" r="3572" b="2907"/>
          <a:stretch/>
        </p:blipFill>
        <p:spPr>
          <a:xfrm>
            <a:off x="0" y="0"/>
            <a:ext cx="12187066" cy="6858000"/>
          </a:xfrm>
          <a:prstGeom prst="rect">
            <a:avLst/>
          </a:prstGeom>
          <a:noFill/>
          <a:ln>
            <a:noFill/>
          </a:ln>
        </p:spPr>
      </p:pic>
      <p:pic>
        <p:nvPicPr>
          <p:cNvPr id="109" name="Google Shape;109;p11"/>
          <p:cNvPicPr preferRelativeResize="0"/>
          <p:nvPr/>
        </p:nvPicPr>
        <p:blipFill rotWithShape="1">
          <a:blip r:embed="rId3">
            <a:alphaModFix amt="35000"/>
          </a:blip>
          <a:srcRect l="4547" t="60185" r="41793" b="9654"/>
          <a:stretch/>
        </p:blipFill>
        <p:spPr>
          <a:xfrm>
            <a:off x="33179" y="0"/>
            <a:ext cx="12187066" cy="6858000"/>
          </a:xfrm>
          <a:prstGeom prst="rect">
            <a:avLst/>
          </a:prstGeom>
          <a:noFill/>
          <a:ln>
            <a:noFill/>
          </a:ln>
        </p:spPr>
      </p:pic>
      <p:sp>
        <p:nvSpPr>
          <p:cNvPr id="110" name="Google Shape;110;p11"/>
          <p:cNvSpPr txBox="1">
            <a:spLocks noGrp="1"/>
          </p:cNvSpPr>
          <p:nvPr>
            <p:ph type="title"/>
          </p:nvPr>
        </p:nvSpPr>
        <p:spPr>
          <a:xfrm>
            <a:off x="839788" y="893124"/>
            <a:ext cx="3932237" cy="1164275"/>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2000"/>
              <a:buFont typeface="Roboto"/>
              <a:buNone/>
              <a:defRPr sz="2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1"/>
          <p:cNvSpPr txBox="1">
            <a:spLocks noGrp="1"/>
          </p:cNvSpPr>
          <p:nvPr>
            <p:ph type="body" idx="1"/>
          </p:nvPr>
        </p:nvSpPr>
        <p:spPr>
          <a:xfrm>
            <a:off x="5183188" y="792112"/>
            <a:ext cx="6172200" cy="506893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12" name="Google Shape;112;p11"/>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pic>
        <p:nvPicPr>
          <p:cNvPr id="113" name="Google Shape;113;p11"/>
          <p:cNvPicPr preferRelativeResize="0"/>
          <p:nvPr/>
        </p:nvPicPr>
        <p:blipFill rotWithShape="1">
          <a:blip r:embed="rId4">
            <a:alphaModFix/>
          </a:blip>
          <a:srcRect/>
          <a:stretch/>
        </p:blipFill>
        <p:spPr>
          <a:xfrm>
            <a:off x="10721636" y="230188"/>
            <a:ext cx="1264328" cy="561924"/>
          </a:xfrm>
          <a:prstGeom prst="rect">
            <a:avLst/>
          </a:prstGeom>
          <a:noFill/>
          <a:ln>
            <a:noFill/>
          </a:ln>
        </p:spPr>
      </p:pic>
      <p:grpSp>
        <p:nvGrpSpPr>
          <p:cNvPr id="114" name="Google Shape;114;p11"/>
          <p:cNvGrpSpPr/>
          <p:nvPr/>
        </p:nvGrpSpPr>
        <p:grpSpPr>
          <a:xfrm>
            <a:off x="0" y="6487887"/>
            <a:ext cx="10322956" cy="117476"/>
            <a:chOff x="0" y="6494462"/>
            <a:chExt cx="8465128" cy="114156"/>
          </a:xfrm>
        </p:grpSpPr>
        <p:sp>
          <p:nvSpPr>
            <p:cNvPr id="115" name="Google Shape;115;p11"/>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6" name="Google Shape;116;p11"/>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7" name="Google Shape;117;p11"/>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pic>
        <p:nvPicPr>
          <p:cNvPr id="118" name="Google Shape;118;p11"/>
          <p:cNvPicPr preferRelativeResize="0"/>
          <p:nvPr/>
        </p:nvPicPr>
        <p:blipFill rotWithShape="1">
          <a:blip r:embed="rId5">
            <a:alphaModFix/>
          </a:blip>
          <a:srcRect/>
          <a:stretch/>
        </p:blipFill>
        <p:spPr>
          <a:xfrm>
            <a:off x="397641" y="210871"/>
            <a:ext cx="1264328" cy="555579"/>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19"/>
        <p:cNvGrpSpPr/>
        <p:nvPr/>
      </p:nvGrpSpPr>
      <p:grpSpPr>
        <a:xfrm>
          <a:off x="0" y="0"/>
          <a:ext cx="0" cy="0"/>
          <a:chOff x="0" y="0"/>
          <a:chExt cx="0" cy="0"/>
        </a:xfrm>
      </p:grpSpPr>
      <p:pic>
        <p:nvPicPr>
          <p:cNvPr id="120" name="Google Shape;120;p12"/>
          <p:cNvPicPr preferRelativeResize="0"/>
          <p:nvPr/>
        </p:nvPicPr>
        <p:blipFill rotWithShape="1">
          <a:blip r:embed="rId2">
            <a:alphaModFix/>
          </a:blip>
          <a:srcRect l="53083" r="9597" b="480"/>
          <a:stretch/>
        </p:blipFill>
        <p:spPr>
          <a:xfrm rot="-5400000">
            <a:off x="2667001" y="-2667003"/>
            <a:ext cx="6857999" cy="12192001"/>
          </a:xfrm>
          <a:prstGeom prst="rect">
            <a:avLst/>
          </a:prstGeom>
          <a:noFill/>
          <a:ln>
            <a:noFill/>
          </a:ln>
        </p:spPr>
      </p:pic>
      <p:sp>
        <p:nvSpPr>
          <p:cNvPr id="121" name="Google Shape;121;p12"/>
          <p:cNvSpPr/>
          <p:nvPr/>
        </p:nvSpPr>
        <p:spPr>
          <a:xfrm>
            <a:off x="0" y="-3"/>
            <a:ext cx="12192000" cy="6858000"/>
          </a:xfrm>
          <a:prstGeom prst="rect">
            <a:avLst/>
          </a:prstGeom>
          <a:solidFill>
            <a:schemeClr val="dk1">
              <a:alpha val="92549"/>
            </a:schemeClr>
          </a:solidFill>
          <a:ln w="12700" cap="flat" cmpd="sng">
            <a:solidFill>
              <a:srgbClr val="2375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22" name="Google Shape;122;p12"/>
          <p:cNvPicPr preferRelativeResize="0"/>
          <p:nvPr/>
        </p:nvPicPr>
        <p:blipFill rotWithShape="1">
          <a:blip r:embed="rId3">
            <a:alphaModFix amt="5000"/>
          </a:blip>
          <a:srcRect l="4547" t="60185" r="41793" b="9654"/>
          <a:stretch/>
        </p:blipFill>
        <p:spPr>
          <a:xfrm>
            <a:off x="0" y="0"/>
            <a:ext cx="12187066" cy="6858000"/>
          </a:xfrm>
          <a:prstGeom prst="rect">
            <a:avLst/>
          </a:prstGeom>
          <a:noFill/>
          <a:ln>
            <a:noFill/>
          </a:ln>
        </p:spPr>
      </p:pic>
      <p:sp>
        <p:nvSpPr>
          <p:cNvPr id="123" name="Google Shape;123;p12"/>
          <p:cNvSpPr txBox="1">
            <a:spLocks noGrp="1"/>
          </p:cNvSpPr>
          <p:nvPr>
            <p:ph type="ctrTitle"/>
          </p:nvPr>
        </p:nvSpPr>
        <p:spPr>
          <a:xfrm>
            <a:off x="1524000" y="2528894"/>
            <a:ext cx="9144000" cy="1909763"/>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000"/>
              <a:buFont typeface="Roboto"/>
              <a:buNone/>
              <a:defRPr sz="4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 name="Google Shape;124;p12"/>
          <p:cNvSpPr txBox="1">
            <a:spLocks noGrp="1"/>
          </p:cNvSpPr>
          <p:nvPr>
            <p:ph type="subTitle" idx="1"/>
          </p:nvPr>
        </p:nvSpPr>
        <p:spPr>
          <a:xfrm>
            <a:off x="1524000" y="4530732"/>
            <a:ext cx="9144000" cy="861474"/>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accent2"/>
              </a:buClr>
              <a:buSzPts val="1800"/>
              <a:buNone/>
              <a:defRPr sz="1800" b="1">
                <a:solidFill>
                  <a:schemeClr val="accent2"/>
                </a:solidFill>
                <a:latin typeface="Arial"/>
                <a:ea typeface="Arial"/>
                <a:cs typeface="Arial"/>
                <a:sym typeface="Aria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125" name="Google Shape;125;p12"/>
          <p:cNvPicPr preferRelativeResize="0"/>
          <p:nvPr/>
        </p:nvPicPr>
        <p:blipFill rotWithShape="1">
          <a:blip r:embed="rId4">
            <a:alphaModFix/>
          </a:blip>
          <a:srcRect/>
          <a:stretch/>
        </p:blipFill>
        <p:spPr>
          <a:xfrm>
            <a:off x="10720230" y="230185"/>
            <a:ext cx="1265734" cy="561924"/>
          </a:xfrm>
          <a:prstGeom prst="rect">
            <a:avLst/>
          </a:prstGeom>
          <a:noFill/>
          <a:ln>
            <a:noFill/>
          </a:ln>
        </p:spPr>
      </p:pic>
      <p:pic>
        <p:nvPicPr>
          <p:cNvPr id="126" name="Google Shape;126;p12"/>
          <p:cNvPicPr preferRelativeResize="0"/>
          <p:nvPr/>
        </p:nvPicPr>
        <p:blipFill rotWithShape="1">
          <a:blip r:embed="rId5">
            <a:alphaModFix/>
          </a:blip>
          <a:srcRect/>
          <a:stretch/>
        </p:blipFill>
        <p:spPr>
          <a:xfrm>
            <a:off x="397641" y="207667"/>
            <a:ext cx="1266174" cy="555579"/>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Section Header">
  <p:cSld name="1_Section Header">
    <p:spTree>
      <p:nvGrpSpPr>
        <p:cNvPr id="1" name="Shape 127"/>
        <p:cNvGrpSpPr/>
        <p:nvPr/>
      </p:nvGrpSpPr>
      <p:grpSpPr>
        <a:xfrm>
          <a:off x="0" y="0"/>
          <a:ext cx="0" cy="0"/>
          <a:chOff x="0" y="0"/>
          <a:chExt cx="0" cy="0"/>
        </a:xfrm>
      </p:grpSpPr>
      <p:pic>
        <p:nvPicPr>
          <p:cNvPr id="128" name="Google Shape;128;p13"/>
          <p:cNvPicPr preferRelativeResize="0"/>
          <p:nvPr/>
        </p:nvPicPr>
        <p:blipFill rotWithShape="1">
          <a:blip r:embed="rId2">
            <a:alphaModFix amt="5000"/>
          </a:blip>
          <a:srcRect l="4547" t="60185" r="41793" b="9654"/>
          <a:stretch/>
        </p:blipFill>
        <p:spPr>
          <a:xfrm>
            <a:off x="0" y="0"/>
            <a:ext cx="12187066" cy="6858000"/>
          </a:xfrm>
          <a:prstGeom prst="rect">
            <a:avLst/>
          </a:prstGeom>
          <a:noFill/>
          <a:ln>
            <a:noFill/>
          </a:ln>
        </p:spPr>
      </p:pic>
      <p:pic>
        <p:nvPicPr>
          <p:cNvPr id="129" name="Google Shape;129;p13"/>
          <p:cNvPicPr preferRelativeResize="0"/>
          <p:nvPr/>
        </p:nvPicPr>
        <p:blipFill rotWithShape="1">
          <a:blip r:embed="rId3">
            <a:alphaModFix/>
          </a:blip>
          <a:srcRect l="53083" r="9597" b="480"/>
          <a:stretch/>
        </p:blipFill>
        <p:spPr>
          <a:xfrm rot="-5400000">
            <a:off x="2667001" y="-2667003"/>
            <a:ext cx="6857999" cy="12192001"/>
          </a:xfrm>
          <a:prstGeom prst="rect">
            <a:avLst/>
          </a:prstGeom>
          <a:noFill/>
          <a:ln>
            <a:noFill/>
          </a:ln>
        </p:spPr>
      </p:pic>
      <p:sp>
        <p:nvSpPr>
          <p:cNvPr id="130" name="Google Shape;130;p13"/>
          <p:cNvSpPr/>
          <p:nvPr/>
        </p:nvSpPr>
        <p:spPr>
          <a:xfrm>
            <a:off x="0" y="0"/>
            <a:ext cx="12192000" cy="6858000"/>
          </a:xfrm>
          <a:prstGeom prst="rect">
            <a:avLst/>
          </a:prstGeom>
          <a:solidFill>
            <a:schemeClr val="accent2">
              <a:alpha val="96078"/>
            </a:schemeClr>
          </a:solidFill>
          <a:ln w="12700" cap="flat" cmpd="sng">
            <a:solidFill>
              <a:srgbClr val="2375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1" name="Google Shape;131;p13"/>
          <p:cNvSpPr/>
          <p:nvPr/>
        </p:nvSpPr>
        <p:spPr>
          <a:xfrm>
            <a:off x="4750583" y="3235579"/>
            <a:ext cx="191526" cy="191526"/>
          </a:xfrm>
          <a:prstGeom prst="ellipse">
            <a:avLst/>
          </a:prstGeom>
          <a:solidFill>
            <a:schemeClr val="dk1">
              <a:alpha val="431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sp>
        <p:nvSpPr>
          <p:cNvPr id="132" name="Google Shape;132;p13"/>
          <p:cNvSpPr txBox="1">
            <a:spLocks noGrp="1"/>
          </p:cNvSpPr>
          <p:nvPr>
            <p:ph type="title"/>
          </p:nvPr>
        </p:nvSpPr>
        <p:spPr>
          <a:xfrm>
            <a:off x="831850" y="1709739"/>
            <a:ext cx="10515600" cy="2169804"/>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000"/>
              <a:buFont typeface="Roboto"/>
              <a:buNone/>
              <a:defRPr sz="4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 name="Google Shape;133;p13"/>
          <p:cNvSpPr txBox="1">
            <a:spLocks noGrp="1"/>
          </p:cNvSpPr>
          <p:nvPr>
            <p:ph type="body" idx="1"/>
          </p:nvPr>
        </p:nvSpPr>
        <p:spPr>
          <a:xfrm>
            <a:off x="831850" y="3928431"/>
            <a:ext cx="10515600" cy="1500187"/>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1"/>
              </a:buClr>
              <a:buSzPts val="1800"/>
              <a:buNone/>
              <a:defRPr sz="1800" b="1">
                <a:solidFill>
                  <a:schemeClr val="dk1"/>
                </a:solidFill>
              </a:defRPr>
            </a:lvl1pPr>
            <a:lvl2pPr marL="914400" lvl="1" indent="-228600" algn="l">
              <a:lnSpc>
                <a:spcPct val="90000"/>
              </a:lnSpc>
              <a:spcBef>
                <a:spcPts val="500"/>
              </a:spcBef>
              <a:spcAft>
                <a:spcPts val="0"/>
              </a:spcAft>
              <a:buClr>
                <a:srgbClr val="888D9E"/>
              </a:buClr>
              <a:buSzPts val="2000"/>
              <a:buNone/>
              <a:defRPr sz="2000">
                <a:solidFill>
                  <a:srgbClr val="888D9E"/>
                </a:solidFill>
              </a:defRPr>
            </a:lvl2pPr>
            <a:lvl3pPr marL="1371600" lvl="2" indent="-228600" algn="l">
              <a:lnSpc>
                <a:spcPct val="90000"/>
              </a:lnSpc>
              <a:spcBef>
                <a:spcPts val="500"/>
              </a:spcBef>
              <a:spcAft>
                <a:spcPts val="0"/>
              </a:spcAft>
              <a:buClr>
                <a:srgbClr val="888D9E"/>
              </a:buClr>
              <a:buSzPts val="1800"/>
              <a:buNone/>
              <a:defRPr sz="1800">
                <a:solidFill>
                  <a:srgbClr val="888D9E"/>
                </a:solidFill>
              </a:defRPr>
            </a:lvl3pPr>
            <a:lvl4pPr marL="1828800" lvl="3" indent="-228600" algn="l">
              <a:lnSpc>
                <a:spcPct val="90000"/>
              </a:lnSpc>
              <a:spcBef>
                <a:spcPts val="500"/>
              </a:spcBef>
              <a:spcAft>
                <a:spcPts val="0"/>
              </a:spcAft>
              <a:buClr>
                <a:srgbClr val="888D9E"/>
              </a:buClr>
              <a:buSzPts val="1600"/>
              <a:buNone/>
              <a:defRPr sz="1600">
                <a:solidFill>
                  <a:srgbClr val="888D9E"/>
                </a:solidFill>
              </a:defRPr>
            </a:lvl4pPr>
            <a:lvl5pPr marL="2286000" lvl="4" indent="-228600" algn="l">
              <a:lnSpc>
                <a:spcPct val="90000"/>
              </a:lnSpc>
              <a:spcBef>
                <a:spcPts val="500"/>
              </a:spcBef>
              <a:spcAft>
                <a:spcPts val="0"/>
              </a:spcAft>
              <a:buClr>
                <a:srgbClr val="888D9E"/>
              </a:buClr>
              <a:buSzPts val="1600"/>
              <a:buNone/>
              <a:defRPr sz="1600">
                <a:solidFill>
                  <a:srgbClr val="888D9E"/>
                </a:solidFill>
              </a:defRPr>
            </a:lvl5pPr>
            <a:lvl6pPr marL="2743200" lvl="5" indent="-228600" algn="l">
              <a:lnSpc>
                <a:spcPct val="90000"/>
              </a:lnSpc>
              <a:spcBef>
                <a:spcPts val="500"/>
              </a:spcBef>
              <a:spcAft>
                <a:spcPts val="0"/>
              </a:spcAft>
              <a:buClr>
                <a:srgbClr val="888D9E"/>
              </a:buClr>
              <a:buSzPts val="1600"/>
              <a:buNone/>
              <a:defRPr sz="1600">
                <a:solidFill>
                  <a:srgbClr val="888D9E"/>
                </a:solidFill>
              </a:defRPr>
            </a:lvl6pPr>
            <a:lvl7pPr marL="3200400" lvl="6" indent="-228600" algn="l">
              <a:lnSpc>
                <a:spcPct val="90000"/>
              </a:lnSpc>
              <a:spcBef>
                <a:spcPts val="500"/>
              </a:spcBef>
              <a:spcAft>
                <a:spcPts val="0"/>
              </a:spcAft>
              <a:buClr>
                <a:srgbClr val="888D9E"/>
              </a:buClr>
              <a:buSzPts val="1600"/>
              <a:buNone/>
              <a:defRPr sz="1600">
                <a:solidFill>
                  <a:srgbClr val="888D9E"/>
                </a:solidFill>
              </a:defRPr>
            </a:lvl7pPr>
            <a:lvl8pPr marL="3657600" lvl="7" indent="-228600" algn="l">
              <a:lnSpc>
                <a:spcPct val="90000"/>
              </a:lnSpc>
              <a:spcBef>
                <a:spcPts val="500"/>
              </a:spcBef>
              <a:spcAft>
                <a:spcPts val="0"/>
              </a:spcAft>
              <a:buClr>
                <a:srgbClr val="888D9E"/>
              </a:buClr>
              <a:buSzPts val="1600"/>
              <a:buNone/>
              <a:defRPr sz="1600">
                <a:solidFill>
                  <a:srgbClr val="888D9E"/>
                </a:solidFill>
              </a:defRPr>
            </a:lvl8pPr>
            <a:lvl9pPr marL="4114800" lvl="8" indent="-228600" algn="l">
              <a:lnSpc>
                <a:spcPct val="90000"/>
              </a:lnSpc>
              <a:spcBef>
                <a:spcPts val="500"/>
              </a:spcBef>
              <a:spcAft>
                <a:spcPts val="0"/>
              </a:spcAft>
              <a:buClr>
                <a:srgbClr val="888D9E"/>
              </a:buClr>
              <a:buSzPts val="1600"/>
              <a:buNone/>
              <a:defRPr sz="1600">
                <a:solidFill>
                  <a:srgbClr val="888D9E"/>
                </a:solidFill>
              </a:defRPr>
            </a:lvl9pPr>
          </a:lstStyle>
          <a:p>
            <a:endParaRPr/>
          </a:p>
        </p:txBody>
      </p:sp>
      <p:pic>
        <p:nvPicPr>
          <p:cNvPr id="134" name="Google Shape;134;p13"/>
          <p:cNvPicPr preferRelativeResize="0"/>
          <p:nvPr/>
        </p:nvPicPr>
        <p:blipFill rotWithShape="1">
          <a:blip r:embed="rId4">
            <a:alphaModFix/>
          </a:blip>
          <a:srcRect/>
          <a:stretch/>
        </p:blipFill>
        <p:spPr>
          <a:xfrm>
            <a:off x="10720230" y="230185"/>
            <a:ext cx="1265734" cy="561924"/>
          </a:xfrm>
          <a:prstGeom prst="rect">
            <a:avLst/>
          </a:prstGeom>
          <a:noFill/>
          <a:ln>
            <a:noFill/>
          </a:ln>
        </p:spPr>
      </p:pic>
      <p:pic>
        <p:nvPicPr>
          <p:cNvPr id="135" name="Google Shape;135;p13"/>
          <p:cNvPicPr preferRelativeResize="0"/>
          <p:nvPr/>
        </p:nvPicPr>
        <p:blipFill rotWithShape="1">
          <a:blip r:embed="rId5">
            <a:alphaModFix/>
          </a:blip>
          <a:srcRect/>
          <a:stretch/>
        </p:blipFill>
        <p:spPr>
          <a:xfrm>
            <a:off x="397641" y="207667"/>
            <a:ext cx="1266174" cy="555579"/>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36"/>
        <p:cNvGrpSpPr/>
        <p:nvPr/>
      </p:nvGrpSpPr>
      <p:grpSpPr>
        <a:xfrm>
          <a:off x="0" y="0"/>
          <a:ext cx="0" cy="0"/>
          <a:chOff x="0" y="0"/>
          <a:chExt cx="0" cy="0"/>
        </a:xfrm>
      </p:grpSpPr>
      <p:pic>
        <p:nvPicPr>
          <p:cNvPr id="137" name="Google Shape;137;p14"/>
          <p:cNvPicPr preferRelativeResize="0"/>
          <p:nvPr/>
        </p:nvPicPr>
        <p:blipFill rotWithShape="1">
          <a:blip r:embed="rId2">
            <a:alphaModFix/>
          </a:blip>
          <a:srcRect l="25203" r="29622"/>
          <a:stretch/>
        </p:blipFill>
        <p:spPr>
          <a:xfrm>
            <a:off x="10160" y="0"/>
            <a:ext cx="5043470" cy="6224015"/>
          </a:xfrm>
          <a:prstGeom prst="rect">
            <a:avLst/>
          </a:prstGeom>
          <a:noFill/>
          <a:ln>
            <a:noFill/>
          </a:ln>
        </p:spPr>
      </p:pic>
      <p:pic>
        <p:nvPicPr>
          <p:cNvPr id="138" name="Google Shape;138;p14"/>
          <p:cNvPicPr preferRelativeResize="0"/>
          <p:nvPr/>
        </p:nvPicPr>
        <p:blipFill rotWithShape="1">
          <a:blip r:embed="rId3">
            <a:alphaModFix amt="20000"/>
          </a:blip>
          <a:srcRect l="765" t="663" r="3572" b="2907"/>
          <a:stretch/>
        </p:blipFill>
        <p:spPr>
          <a:xfrm>
            <a:off x="0" y="0"/>
            <a:ext cx="12187066" cy="6858000"/>
          </a:xfrm>
          <a:prstGeom prst="rect">
            <a:avLst/>
          </a:prstGeom>
          <a:noFill/>
          <a:ln>
            <a:noFill/>
          </a:ln>
        </p:spPr>
      </p:pic>
      <p:pic>
        <p:nvPicPr>
          <p:cNvPr id="139" name="Google Shape;139;p14"/>
          <p:cNvPicPr preferRelativeResize="0"/>
          <p:nvPr/>
        </p:nvPicPr>
        <p:blipFill rotWithShape="1">
          <a:blip r:embed="rId4">
            <a:alphaModFix amt="5000"/>
          </a:blip>
          <a:srcRect l="4547" t="60185" r="41793" b="9654"/>
          <a:stretch/>
        </p:blipFill>
        <p:spPr>
          <a:xfrm>
            <a:off x="33179" y="0"/>
            <a:ext cx="12187066" cy="6858000"/>
          </a:xfrm>
          <a:prstGeom prst="rect">
            <a:avLst/>
          </a:prstGeom>
          <a:noFill/>
          <a:ln>
            <a:noFill/>
          </a:ln>
        </p:spPr>
      </p:pic>
      <p:sp>
        <p:nvSpPr>
          <p:cNvPr id="140" name="Google Shape;140;p14"/>
          <p:cNvSpPr/>
          <p:nvPr/>
        </p:nvSpPr>
        <p:spPr>
          <a:xfrm>
            <a:off x="0" y="0"/>
            <a:ext cx="5050971" cy="6224015"/>
          </a:xfrm>
          <a:prstGeom prst="rect">
            <a:avLst/>
          </a:prstGeom>
          <a:solidFill>
            <a:srgbClr val="003465">
              <a:alpha val="63921"/>
            </a:srgbClr>
          </a:solidFill>
          <a:ln w="12700" cap="flat" cmpd="sng">
            <a:solidFill>
              <a:srgbClr val="2375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1" name="Google Shape;141;p14"/>
          <p:cNvPicPr preferRelativeResize="0"/>
          <p:nvPr/>
        </p:nvPicPr>
        <p:blipFill rotWithShape="1">
          <a:blip r:embed="rId5">
            <a:alphaModFix amt="2000"/>
          </a:blip>
          <a:srcRect/>
          <a:stretch/>
        </p:blipFill>
        <p:spPr>
          <a:xfrm>
            <a:off x="2745154" y="47171"/>
            <a:ext cx="6858000" cy="6858000"/>
          </a:xfrm>
          <a:prstGeom prst="rect">
            <a:avLst/>
          </a:prstGeom>
          <a:noFill/>
          <a:ln>
            <a:noFill/>
          </a:ln>
        </p:spPr>
      </p:pic>
      <p:sp>
        <p:nvSpPr>
          <p:cNvPr id="142" name="Google Shape;142;p14"/>
          <p:cNvSpPr txBox="1">
            <a:spLocks noGrp="1"/>
          </p:cNvSpPr>
          <p:nvPr>
            <p:ph type="title"/>
          </p:nvPr>
        </p:nvSpPr>
        <p:spPr>
          <a:xfrm>
            <a:off x="839788" y="987424"/>
            <a:ext cx="3932237" cy="1069975"/>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2000"/>
              <a:buFont typeface="Roboto"/>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 name="Google Shape;143;p14"/>
          <p:cNvSpPr>
            <a:spLocks noGrp="1"/>
          </p:cNvSpPr>
          <p:nvPr>
            <p:ph type="pic" idx="2"/>
          </p:nvPr>
        </p:nvSpPr>
        <p:spPr>
          <a:xfrm>
            <a:off x="5183188" y="987425"/>
            <a:ext cx="6172200" cy="4873625"/>
          </a:xfrm>
          <a:prstGeom prst="rect">
            <a:avLst/>
          </a:prstGeom>
          <a:noFill/>
          <a:ln>
            <a:noFill/>
          </a:ln>
        </p:spPr>
      </p:sp>
      <p:sp>
        <p:nvSpPr>
          <p:cNvPr id="144" name="Google Shape;144;p14"/>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defRPr>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pic>
        <p:nvPicPr>
          <p:cNvPr id="145" name="Google Shape;145;p14"/>
          <p:cNvPicPr preferRelativeResize="0"/>
          <p:nvPr/>
        </p:nvPicPr>
        <p:blipFill rotWithShape="1">
          <a:blip r:embed="rId6">
            <a:alphaModFix/>
          </a:blip>
          <a:srcRect/>
          <a:stretch/>
        </p:blipFill>
        <p:spPr>
          <a:xfrm>
            <a:off x="10721636" y="230188"/>
            <a:ext cx="1264328" cy="561924"/>
          </a:xfrm>
          <a:prstGeom prst="rect">
            <a:avLst/>
          </a:prstGeom>
          <a:noFill/>
          <a:ln>
            <a:noFill/>
          </a:ln>
        </p:spPr>
      </p:pic>
      <p:pic>
        <p:nvPicPr>
          <p:cNvPr id="150" name="Google Shape;150;p14"/>
          <p:cNvPicPr preferRelativeResize="0"/>
          <p:nvPr/>
        </p:nvPicPr>
        <p:blipFill rotWithShape="1">
          <a:blip r:embed="rId7">
            <a:alphaModFix/>
          </a:blip>
          <a:srcRect/>
          <a:stretch/>
        </p:blipFill>
        <p:spPr>
          <a:xfrm>
            <a:off x="397641" y="207667"/>
            <a:ext cx="1266174" cy="555579"/>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Fifteen Images">
    <p:bg>
      <p:bgPr>
        <a:solidFill>
          <a:srgbClr val="929292"/>
        </a:solidFill>
        <a:effectLst/>
      </p:bgPr>
    </p:bg>
    <p:spTree>
      <p:nvGrpSpPr>
        <p:cNvPr id="1" name=""/>
        <p:cNvGrpSpPr/>
        <p:nvPr/>
      </p:nvGrpSpPr>
      <p:grpSpPr>
        <a:xfrm>
          <a:off x="0" y="0"/>
          <a:ext cx="0" cy="0"/>
          <a:chOff x="0" y="0"/>
          <a:chExt cx="0" cy="0"/>
        </a:xfrm>
      </p:grpSpPr>
      <p:sp>
        <p:nvSpPr>
          <p:cNvPr id="315" name="Insert Picture Here.png"/>
          <p:cNvSpPr>
            <a:spLocks noGrp="1"/>
          </p:cNvSpPr>
          <p:nvPr>
            <p:ph type="pic" sz="quarter" idx="21"/>
          </p:nvPr>
        </p:nvSpPr>
        <p:spPr>
          <a:xfrm>
            <a:off x="-812800" y="0"/>
            <a:ext cx="4064000" cy="2286000"/>
          </a:xfrm>
          <a:prstGeom prst="rect">
            <a:avLst/>
          </a:prstGeom>
        </p:spPr>
        <p:txBody>
          <a:bodyPr lIns="91439" tIns="45719" rIns="91439" bIns="45719">
            <a:noAutofit/>
          </a:bodyPr>
          <a:lstStyle/>
          <a:p>
            <a:endParaRPr/>
          </a:p>
        </p:txBody>
      </p:sp>
      <p:sp>
        <p:nvSpPr>
          <p:cNvPr id="316" name="Insert Picture Here.png"/>
          <p:cNvSpPr>
            <a:spLocks noGrp="1"/>
          </p:cNvSpPr>
          <p:nvPr>
            <p:ph type="pic" sz="quarter" idx="22"/>
          </p:nvPr>
        </p:nvSpPr>
        <p:spPr>
          <a:xfrm>
            <a:off x="1625600" y="0"/>
            <a:ext cx="4064000" cy="2286000"/>
          </a:xfrm>
          <a:prstGeom prst="rect">
            <a:avLst/>
          </a:prstGeom>
        </p:spPr>
        <p:txBody>
          <a:bodyPr lIns="91439" tIns="45719" rIns="91439" bIns="45719">
            <a:noAutofit/>
          </a:bodyPr>
          <a:lstStyle/>
          <a:p>
            <a:endParaRPr/>
          </a:p>
        </p:txBody>
      </p:sp>
      <p:sp>
        <p:nvSpPr>
          <p:cNvPr id="317" name="Insert Picture Here.png"/>
          <p:cNvSpPr>
            <a:spLocks noGrp="1"/>
          </p:cNvSpPr>
          <p:nvPr>
            <p:ph type="pic" sz="quarter" idx="23"/>
          </p:nvPr>
        </p:nvSpPr>
        <p:spPr>
          <a:xfrm>
            <a:off x="4064000" y="0"/>
            <a:ext cx="4064000" cy="2286000"/>
          </a:xfrm>
          <a:prstGeom prst="rect">
            <a:avLst/>
          </a:prstGeom>
        </p:spPr>
        <p:txBody>
          <a:bodyPr lIns="91439" tIns="45719" rIns="91439" bIns="45719">
            <a:noAutofit/>
          </a:bodyPr>
          <a:lstStyle/>
          <a:p>
            <a:endParaRPr/>
          </a:p>
        </p:txBody>
      </p:sp>
      <p:sp>
        <p:nvSpPr>
          <p:cNvPr id="318" name="Insert Picture Here.png"/>
          <p:cNvSpPr>
            <a:spLocks noGrp="1"/>
          </p:cNvSpPr>
          <p:nvPr>
            <p:ph type="pic" sz="quarter" idx="24"/>
          </p:nvPr>
        </p:nvSpPr>
        <p:spPr>
          <a:xfrm>
            <a:off x="6502400" y="0"/>
            <a:ext cx="4064000" cy="2286000"/>
          </a:xfrm>
          <a:prstGeom prst="rect">
            <a:avLst/>
          </a:prstGeom>
        </p:spPr>
        <p:txBody>
          <a:bodyPr lIns="91439" tIns="45719" rIns="91439" bIns="45719">
            <a:noAutofit/>
          </a:bodyPr>
          <a:lstStyle/>
          <a:p>
            <a:endParaRPr/>
          </a:p>
        </p:txBody>
      </p:sp>
      <p:sp>
        <p:nvSpPr>
          <p:cNvPr id="319" name="Insert Picture Here.png"/>
          <p:cNvSpPr>
            <a:spLocks noGrp="1"/>
          </p:cNvSpPr>
          <p:nvPr>
            <p:ph type="pic" sz="quarter" idx="25"/>
          </p:nvPr>
        </p:nvSpPr>
        <p:spPr>
          <a:xfrm>
            <a:off x="8940800" y="-1"/>
            <a:ext cx="4064000" cy="2286001"/>
          </a:xfrm>
          <a:prstGeom prst="rect">
            <a:avLst/>
          </a:prstGeom>
        </p:spPr>
        <p:txBody>
          <a:bodyPr lIns="91439" tIns="45719" rIns="91439" bIns="45719">
            <a:noAutofit/>
          </a:bodyPr>
          <a:lstStyle/>
          <a:p>
            <a:endParaRPr/>
          </a:p>
        </p:txBody>
      </p:sp>
      <p:sp>
        <p:nvSpPr>
          <p:cNvPr id="320" name="Insert Picture Here.png"/>
          <p:cNvSpPr>
            <a:spLocks noGrp="1"/>
          </p:cNvSpPr>
          <p:nvPr>
            <p:ph type="pic" sz="quarter" idx="26"/>
          </p:nvPr>
        </p:nvSpPr>
        <p:spPr>
          <a:xfrm>
            <a:off x="-812800" y="2286000"/>
            <a:ext cx="4064000" cy="2286000"/>
          </a:xfrm>
          <a:prstGeom prst="rect">
            <a:avLst/>
          </a:prstGeom>
        </p:spPr>
        <p:txBody>
          <a:bodyPr lIns="91439" tIns="45719" rIns="91439" bIns="45719">
            <a:noAutofit/>
          </a:bodyPr>
          <a:lstStyle/>
          <a:p>
            <a:endParaRPr/>
          </a:p>
        </p:txBody>
      </p:sp>
      <p:sp>
        <p:nvSpPr>
          <p:cNvPr id="321" name="Insert Picture Here.png"/>
          <p:cNvSpPr>
            <a:spLocks noGrp="1"/>
          </p:cNvSpPr>
          <p:nvPr>
            <p:ph type="pic" sz="quarter" idx="27"/>
          </p:nvPr>
        </p:nvSpPr>
        <p:spPr>
          <a:xfrm>
            <a:off x="1625600" y="2286000"/>
            <a:ext cx="4064000" cy="2286000"/>
          </a:xfrm>
          <a:prstGeom prst="rect">
            <a:avLst/>
          </a:prstGeom>
        </p:spPr>
        <p:txBody>
          <a:bodyPr lIns="91439" tIns="45719" rIns="91439" bIns="45719">
            <a:noAutofit/>
          </a:bodyPr>
          <a:lstStyle/>
          <a:p>
            <a:endParaRPr/>
          </a:p>
        </p:txBody>
      </p:sp>
      <p:sp>
        <p:nvSpPr>
          <p:cNvPr id="322" name="Insert Picture Here.png"/>
          <p:cNvSpPr>
            <a:spLocks noGrp="1"/>
          </p:cNvSpPr>
          <p:nvPr>
            <p:ph type="pic" sz="quarter" idx="28"/>
          </p:nvPr>
        </p:nvSpPr>
        <p:spPr>
          <a:xfrm>
            <a:off x="4064000" y="2286000"/>
            <a:ext cx="4064000" cy="2286000"/>
          </a:xfrm>
          <a:prstGeom prst="rect">
            <a:avLst/>
          </a:prstGeom>
        </p:spPr>
        <p:txBody>
          <a:bodyPr lIns="91439" tIns="45719" rIns="91439" bIns="45719">
            <a:noAutofit/>
          </a:bodyPr>
          <a:lstStyle/>
          <a:p>
            <a:endParaRPr/>
          </a:p>
        </p:txBody>
      </p:sp>
      <p:sp>
        <p:nvSpPr>
          <p:cNvPr id="323" name="Insert Picture Here.png"/>
          <p:cNvSpPr>
            <a:spLocks noGrp="1"/>
          </p:cNvSpPr>
          <p:nvPr>
            <p:ph type="pic" sz="quarter" idx="29"/>
          </p:nvPr>
        </p:nvSpPr>
        <p:spPr>
          <a:xfrm>
            <a:off x="6502400" y="2286000"/>
            <a:ext cx="4064000" cy="2286000"/>
          </a:xfrm>
          <a:prstGeom prst="rect">
            <a:avLst/>
          </a:prstGeom>
        </p:spPr>
        <p:txBody>
          <a:bodyPr lIns="91439" tIns="45719" rIns="91439" bIns="45719">
            <a:noAutofit/>
          </a:bodyPr>
          <a:lstStyle/>
          <a:p>
            <a:endParaRPr/>
          </a:p>
        </p:txBody>
      </p:sp>
      <p:sp>
        <p:nvSpPr>
          <p:cNvPr id="324" name="Insert Picture Here.png"/>
          <p:cNvSpPr>
            <a:spLocks noGrp="1"/>
          </p:cNvSpPr>
          <p:nvPr>
            <p:ph type="pic" sz="quarter" idx="30"/>
          </p:nvPr>
        </p:nvSpPr>
        <p:spPr>
          <a:xfrm>
            <a:off x="8940800" y="2286000"/>
            <a:ext cx="4064000" cy="2286000"/>
          </a:xfrm>
          <a:prstGeom prst="rect">
            <a:avLst/>
          </a:prstGeom>
        </p:spPr>
        <p:txBody>
          <a:bodyPr lIns="91439" tIns="45719" rIns="91439" bIns="45719">
            <a:noAutofit/>
          </a:bodyPr>
          <a:lstStyle/>
          <a:p>
            <a:endParaRPr/>
          </a:p>
        </p:txBody>
      </p:sp>
      <p:sp>
        <p:nvSpPr>
          <p:cNvPr id="325" name="Insert Picture Here.png"/>
          <p:cNvSpPr>
            <a:spLocks noGrp="1"/>
          </p:cNvSpPr>
          <p:nvPr>
            <p:ph type="pic" sz="quarter" idx="31"/>
          </p:nvPr>
        </p:nvSpPr>
        <p:spPr>
          <a:xfrm>
            <a:off x="-812800" y="4572000"/>
            <a:ext cx="4064000" cy="2286000"/>
          </a:xfrm>
          <a:prstGeom prst="rect">
            <a:avLst/>
          </a:prstGeom>
        </p:spPr>
        <p:txBody>
          <a:bodyPr lIns="91439" tIns="45719" rIns="91439" bIns="45719">
            <a:noAutofit/>
          </a:bodyPr>
          <a:lstStyle/>
          <a:p>
            <a:endParaRPr/>
          </a:p>
        </p:txBody>
      </p:sp>
      <p:sp>
        <p:nvSpPr>
          <p:cNvPr id="326" name="Insert Picture Here.png"/>
          <p:cNvSpPr>
            <a:spLocks noGrp="1"/>
          </p:cNvSpPr>
          <p:nvPr>
            <p:ph type="pic" sz="quarter" idx="32"/>
          </p:nvPr>
        </p:nvSpPr>
        <p:spPr>
          <a:xfrm>
            <a:off x="1625600" y="4572000"/>
            <a:ext cx="4064000" cy="2286000"/>
          </a:xfrm>
          <a:prstGeom prst="rect">
            <a:avLst/>
          </a:prstGeom>
        </p:spPr>
        <p:txBody>
          <a:bodyPr lIns="91439" tIns="45719" rIns="91439" bIns="45719">
            <a:noAutofit/>
          </a:bodyPr>
          <a:lstStyle/>
          <a:p>
            <a:endParaRPr/>
          </a:p>
        </p:txBody>
      </p:sp>
      <p:sp>
        <p:nvSpPr>
          <p:cNvPr id="327" name="Insert Picture Here.png"/>
          <p:cNvSpPr>
            <a:spLocks noGrp="1"/>
          </p:cNvSpPr>
          <p:nvPr>
            <p:ph type="pic" sz="quarter" idx="33"/>
          </p:nvPr>
        </p:nvSpPr>
        <p:spPr>
          <a:xfrm>
            <a:off x="4064000" y="4572000"/>
            <a:ext cx="4064000" cy="2286000"/>
          </a:xfrm>
          <a:prstGeom prst="rect">
            <a:avLst/>
          </a:prstGeom>
        </p:spPr>
        <p:txBody>
          <a:bodyPr lIns="91439" tIns="45719" rIns="91439" bIns="45719">
            <a:noAutofit/>
          </a:bodyPr>
          <a:lstStyle/>
          <a:p>
            <a:endParaRPr/>
          </a:p>
        </p:txBody>
      </p:sp>
      <p:sp>
        <p:nvSpPr>
          <p:cNvPr id="328" name="Insert Picture Here.png"/>
          <p:cNvSpPr>
            <a:spLocks noGrp="1"/>
          </p:cNvSpPr>
          <p:nvPr>
            <p:ph type="pic" sz="quarter" idx="34"/>
          </p:nvPr>
        </p:nvSpPr>
        <p:spPr>
          <a:xfrm>
            <a:off x="6502400" y="4572000"/>
            <a:ext cx="4064000" cy="2286000"/>
          </a:xfrm>
          <a:prstGeom prst="rect">
            <a:avLst/>
          </a:prstGeom>
        </p:spPr>
        <p:txBody>
          <a:bodyPr lIns="91439" tIns="45719" rIns="91439" bIns="45719">
            <a:noAutofit/>
          </a:bodyPr>
          <a:lstStyle/>
          <a:p>
            <a:endParaRPr/>
          </a:p>
        </p:txBody>
      </p:sp>
      <p:sp>
        <p:nvSpPr>
          <p:cNvPr id="329" name="Insert Picture Here.png"/>
          <p:cNvSpPr>
            <a:spLocks noGrp="1"/>
          </p:cNvSpPr>
          <p:nvPr>
            <p:ph type="pic" sz="quarter" idx="35"/>
          </p:nvPr>
        </p:nvSpPr>
        <p:spPr>
          <a:xfrm>
            <a:off x="8940800" y="4572000"/>
            <a:ext cx="4064000" cy="2286000"/>
          </a:xfrm>
          <a:prstGeom prst="rect">
            <a:avLst/>
          </a:prstGeom>
        </p:spPr>
        <p:txBody>
          <a:bodyPr lIns="91439" tIns="45719" rIns="91439" bIns="45719">
            <a:noAutofit/>
          </a:bodyPr>
          <a:lstStyle/>
          <a:p>
            <a:endParaRPr/>
          </a:p>
        </p:txBody>
      </p:sp>
      <p:sp>
        <p:nvSpPr>
          <p:cNvPr id="330" name="Shape"/>
          <p:cNvSpPr>
            <a:spLocks noGrp="1"/>
          </p:cNvSpPr>
          <p:nvPr>
            <p:ph type="body" sz="quarter" idx="36"/>
          </p:nvPr>
        </p:nvSpPr>
        <p:spPr>
          <a:xfrm>
            <a:off x="0" y="0"/>
            <a:ext cx="635000"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000"/>
                </a:lnTo>
                <a:lnTo>
                  <a:pt x="21168" y="2000"/>
                </a:lnTo>
                <a:lnTo>
                  <a:pt x="21168" y="21600"/>
                </a:lnTo>
                <a:lnTo>
                  <a:pt x="21600" y="21600"/>
                </a:lnTo>
                <a:lnTo>
                  <a:pt x="21600" y="2000"/>
                </a:lnTo>
                <a:lnTo>
                  <a:pt x="21600" y="0"/>
                </a:lnTo>
                <a:lnTo>
                  <a:pt x="21168" y="0"/>
                </a:lnTo>
                <a:lnTo>
                  <a:pt x="0" y="0"/>
                </a:lnTo>
                <a:close/>
              </a:path>
            </a:pathLst>
          </a:custGeom>
          <a:solidFill>
            <a:srgbClr val="FFFFFF"/>
          </a:solidFill>
        </p:spPr>
        <p:txBody>
          <a:bodyPr lIns="0" tIns="0" rIns="0" bIns="0" anchor="ctr">
            <a:noAutofit/>
          </a:bodyPr>
          <a:lstStyle/>
          <a:p>
            <a:pPr algn="ctr">
              <a:lnSpc>
                <a:spcPct val="100000"/>
              </a:lnSpc>
              <a:defRPr sz="3200">
                <a:solidFill>
                  <a:srgbClr val="FFFFFF"/>
                </a:solidFill>
                <a:latin typeface="Helvetica Neue Medium"/>
                <a:ea typeface="Helvetica Neue Medium"/>
                <a:cs typeface="Helvetica Neue Medium"/>
                <a:sym typeface="Helvetica Neue Medium"/>
              </a:defRPr>
            </a:pPr>
            <a:endParaRPr/>
          </a:p>
        </p:txBody>
      </p:sp>
      <p:sp>
        <p:nvSpPr>
          <p:cNvPr id="3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0098942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aster">
    <p:bg>
      <p:bgPr>
        <a:solidFill>
          <a:srgbClr val="929292"/>
        </a:solidFill>
        <a:effectLst/>
      </p:bgPr>
    </p:bg>
    <p:spTree>
      <p:nvGrpSpPr>
        <p:cNvPr id="1" name=""/>
        <p:cNvGrpSpPr/>
        <p:nvPr/>
      </p:nvGrpSpPr>
      <p:grpSpPr>
        <a:xfrm>
          <a:off x="0" y="0"/>
          <a:ext cx="0" cy="0"/>
          <a:chOff x="0" y="0"/>
          <a:chExt cx="0" cy="0"/>
        </a:xfrm>
      </p:grpSpPr>
      <p:sp>
        <p:nvSpPr>
          <p:cNvPr id="36" name="Rectangle"/>
          <p:cNvSpPr>
            <a:spLocks noGrp="1"/>
          </p:cNvSpPr>
          <p:nvPr>
            <p:ph type="body" sz="half" idx="22"/>
          </p:nvPr>
        </p:nvSpPr>
        <p:spPr>
          <a:xfrm>
            <a:off x="0" y="4635500"/>
            <a:ext cx="12192000" cy="2222500"/>
          </a:xfrm>
          <a:prstGeom prst="rect">
            <a:avLst/>
          </a:prstGeom>
          <a:solidFill>
            <a:srgbClr val="FFFFFF">
              <a:alpha val="25000"/>
            </a:srgbClr>
          </a:solidFill>
        </p:spPr>
        <p:txBody>
          <a:bodyPr lIns="0" tIns="0" rIns="0" bIns="0" anchor="ctr">
            <a:noAutofit/>
          </a:bodyPr>
          <a:lstStyle/>
          <a:p>
            <a:pPr algn="ctr">
              <a:lnSpc>
                <a:spcPct val="100000"/>
              </a:lnSpc>
              <a:defRPr sz="3200">
                <a:solidFill>
                  <a:srgbClr val="FFFFFF"/>
                </a:solidFill>
                <a:latin typeface="Helvetica Neue Medium"/>
                <a:ea typeface="Helvetica Neue Medium"/>
                <a:cs typeface="Helvetica Neue Medium"/>
                <a:sym typeface="Helvetica Neue Medium"/>
              </a:defRPr>
            </a:pPr>
            <a:endParaRPr/>
          </a:p>
        </p:txBody>
      </p:sp>
      <p:sp>
        <p:nvSpPr>
          <p:cNvPr id="37" name="Rectangle"/>
          <p:cNvSpPr>
            <a:spLocks noGrp="1"/>
          </p:cNvSpPr>
          <p:nvPr>
            <p:ph type="body" sz="quarter" idx="23"/>
          </p:nvPr>
        </p:nvSpPr>
        <p:spPr>
          <a:xfrm>
            <a:off x="0" y="4635500"/>
            <a:ext cx="190500" cy="2222500"/>
          </a:xfrm>
          <a:prstGeom prst="rect">
            <a:avLst/>
          </a:prstGeom>
          <a:solidFill>
            <a:srgbClr val="FFFFFF"/>
          </a:solidFill>
        </p:spPr>
        <p:txBody>
          <a:bodyPr lIns="0" tIns="0" rIns="0" bIns="0" anchor="ctr">
            <a:noAutofit/>
          </a:bodyPr>
          <a:lstStyle/>
          <a:p>
            <a:pPr algn="ctr">
              <a:lnSpc>
                <a:spcPct val="100000"/>
              </a:lnSpc>
              <a:defRPr sz="3200">
                <a:solidFill>
                  <a:srgbClr val="FFFFFF"/>
                </a:solidFill>
                <a:latin typeface="Helvetica Neue Medium"/>
                <a:ea typeface="Helvetica Neue Medium"/>
                <a:cs typeface="Helvetica Neue Medium"/>
                <a:sym typeface="Helvetica Neue Medium"/>
              </a:defRPr>
            </a:pPr>
            <a:endParaRPr/>
          </a:p>
        </p:txBody>
      </p:sp>
      <p:sp>
        <p:nvSpPr>
          <p:cNvPr id="38" name="Slide Number"/>
          <p:cNvSpPr txBox="1">
            <a:spLocks noGrp="1"/>
          </p:cNvSpPr>
          <p:nvPr>
            <p:ph type="sldNum" sz="quarter" idx="2"/>
          </p:nvPr>
        </p:nvSpPr>
        <p:spPr>
          <a:xfrm>
            <a:off x="11692560" y="150788"/>
            <a:ext cx="363882" cy="333425"/>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4470457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13_Master">
    <p:bg>
      <p:bgPr>
        <a:solidFill>
          <a:srgbClr val="929292"/>
        </a:solidFill>
        <a:effectLst/>
      </p:bgPr>
    </p:bg>
    <p:spTree>
      <p:nvGrpSpPr>
        <p:cNvPr id="1" name=""/>
        <p:cNvGrpSpPr/>
        <p:nvPr/>
      </p:nvGrpSpPr>
      <p:grpSpPr>
        <a:xfrm>
          <a:off x="0" y="0"/>
          <a:ext cx="0" cy="0"/>
          <a:chOff x="0" y="0"/>
          <a:chExt cx="0" cy="0"/>
        </a:xfrm>
      </p:grpSpPr>
      <p:sp>
        <p:nvSpPr>
          <p:cNvPr id="185" name="Shape"/>
          <p:cNvSpPr>
            <a:spLocks noGrp="1"/>
          </p:cNvSpPr>
          <p:nvPr>
            <p:ph type="body" sz="quarter" idx="21"/>
          </p:nvPr>
        </p:nvSpPr>
        <p:spPr>
          <a:xfrm>
            <a:off x="11557000" y="0"/>
            <a:ext cx="635000"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000"/>
                </a:lnTo>
                <a:lnTo>
                  <a:pt x="0" y="21600"/>
                </a:lnTo>
                <a:lnTo>
                  <a:pt x="432" y="21600"/>
                </a:lnTo>
                <a:lnTo>
                  <a:pt x="432" y="2000"/>
                </a:lnTo>
                <a:lnTo>
                  <a:pt x="21600" y="2000"/>
                </a:lnTo>
                <a:lnTo>
                  <a:pt x="21600" y="0"/>
                </a:lnTo>
                <a:lnTo>
                  <a:pt x="432" y="0"/>
                </a:lnTo>
                <a:lnTo>
                  <a:pt x="0" y="0"/>
                </a:lnTo>
                <a:close/>
              </a:path>
            </a:pathLst>
          </a:custGeom>
          <a:solidFill>
            <a:srgbClr val="FFFFFF"/>
          </a:solidFill>
        </p:spPr>
        <p:txBody>
          <a:bodyPr lIns="0" tIns="0" rIns="0" bIns="0" anchor="ctr">
            <a:noAutofit/>
          </a:bodyPr>
          <a:lstStyle/>
          <a:p>
            <a:pPr algn="ctr">
              <a:lnSpc>
                <a:spcPct val="100000"/>
              </a:lnSpc>
              <a:defRPr sz="3200">
                <a:solidFill>
                  <a:srgbClr val="FFFFFF"/>
                </a:solidFill>
                <a:latin typeface="Helvetica Neue Medium"/>
                <a:ea typeface="Helvetica Neue Medium"/>
                <a:cs typeface="Helvetica Neue Medium"/>
                <a:sym typeface="Helvetica Neue Medium"/>
              </a:defRPr>
            </a:pPr>
            <a:endParaRPr/>
          </a:p>
        </p:txBody>
      </p:sp>
      <p:sp>
        <p:nvSpPr>
          <p:cNvPr id="186" name="Slide Number"/>
          <p:cNvSpPr txBox="1">
            <a:spLocks noGrp="1"/>
          </p:cNvSpPr>
          <p:nvPr>
            <p:ph type="sldNum" sz="quarter" idx="2"/>
          </p:nvPr>
        </p:nvSpPr>
        <p:spPr>
          <a:xfrm>
            <a:off x="11692560" y="150788"/>
            <a:ext cx="363882" cy="333425"/>
          </a:xfrm>
          <a:prstGeom prst="rect">
            <a:avLst/>
          </a:prstGeom>
        </p:spPr>
        <p:txBody>
          <a:bodyPr/>
          <a:lstStyle/>
          <a:p>
            <a:fld id="{86CB4B4D-7CA3-9044-876B-883B54F8677D}" type="slidenum">
              <a:t>‹#›</a:t>
            </a:fld>
            <a:endParaRPr/>
          </a:p>
        </p:txBody>
      </p:sp>
      <p:sp>
        <p:nvSpPr>
          <p:cNvPr id="187" name="Rectangle"/>
          <p:cNvSpPr>
            <a:spLocks noGrp="1"/>
          </p:cNvSpPr>
          <p:nvPr>
            <p:ph type="body" idx="22"/>
          </p:nvPr>
        </p:nvSpPr>
        <p:spPr>
          <a:xfrm>
            <a:off x="5778500" y="-1"/>
            <a:ext cx="5778500" cy="6858001"/>
          </a:xfrm>
          <a:prstGeom prst="rect">
            <a:avLst/>
          </a:prstGeom>
          <a:solidFill>
            <a:srgbClr val="FFFFFF">
              <a:alpha val="25000"/>
            </a:srgbClr>
          </a:solidFill>
        </p:spPr>
        <p:txBody>
          <a:bodyPr lIns="0" tIns="0" rIns="0" bIns="0" anchor="ctr">
            <a:noAutofit/>
          </a:bodyPr>
          <a:lstStyle/>
          <a:p>
            <a:pPr algn="ctr">
              <a:lnSpc>
                <a:spcPct val="100000"/>
              </a:lnSpc>
              <a:defRPr sz="3200">
                <a:solidFill>
                  <a:srgbClr val="FFFFFF"/>
                </a:solidFill>
                <a:latin typeface="Helvetica Neue Medium"/>
                <a:ea typeface="Helvetica Neue Medium"/>
                <a:cs typeface="Helvetica Neue Medium"/>
                <a:sym typeface="Helvetica Neue Medium"/>
              </a:defRPr>
            </a:pPr>
            <a:endParaRPr/>
          </a:p>
        </p:txBody>
      </p:sp>
      <p:sp>
        <p:nvSpPr>
          <p:cNvPr id="188" name="Insert Picture Here.png"/>
          <p:cNvSpPr>
            <a:spLocks noGrp="1"/>
          </p:cNvSpPr>
          <p:nvPr>
            <p:ph type="pic" idx="23"/>
          </p:nvPr>
        </p:nvSpPr>
        <p:spPr>
          <a:xfrm>
            <a:off x="-3206750" y="0"/>
            <a:ext cx="12192000" cy="6858000"/>
          </a:xfrm>
          <a:prstGeom prst="rect">
            <a:avLst/>
          </a:prstGeom>
        </p:spPr>
        <p:txBody>
          <a:bodyPr lIns="91439" tIns="45719" rIns="91439" bIns="45719">
            <a:noAutofit/>
          </a:bodyPr>
          <a:lstStyle/>
          <a:p>
            <a:endParaRPr/>
          </a:p>
        </p:txBody>
      </p:sp>
    </p:spTree>
    <p:extLst>
      <p:ext uri="{BB962C8B-B14F-4D97-AF65-F5344CB8AC3E}">
        <p14:creationId xmlns:p14="http://schemas.microsoft.com/office/powerpoint/2010/main" val="69534307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ackground Polo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1283975-D087-9E45-B822-77301769DEE8}"/>
              </a:ext>
            </a:extLst>
          </p:cNvPr>
          <p:cNvSpPr>
            <a:spLocks noGrp="1"/>
          </p:cNvSpPr>
          <p:nvPr>
            <p:ph type="title"/>
          </p:nvPr>
        </p:nvSpPr>
        <p:spPr>
          <a:xfrm>
            <a:off x="898327" y="1231518"/>
            <a:ext cx="4681736" cy="1512168"/>
          </a:xfrm>
          <a:prstGeom prst="rect">
            <a:avLst/>
          </a:prstGeom>
        </p:spPr>
        <p:txBody>
          <a:bodyPr/>
          <a:lstStyle>
            <a:lvl1pPr>
              <a:defRPr sz="4000" b="1" i="0">
                <a:solidFill>
                  <a:schemeClr val="accent5">
                    <a:lumMod val="50000"/>
                  </a:schemeClr>
                </a:solidFill>
                <a:latin typeface="Roboto" panose="02000000000000000000" pitchFamily="2" charset="0"/>
                <a:ea typeface="Roboto" panose="02000000000000000000" pitchFamily="2" charset="0"/>
              </a:defRPr>
            </a:lvl1pPr>
          </a:lstStyle>
          <a:p>
            <a:r>
              <a:rPr lang="en-US" dirty="0"/>
              <a:t>Click to edit Master title style</a:t>
            </a:r>
          </a:p>
        </p:txBody>
      </p:sp>
      <p:sp>
        <p:nvSpPr>
          <p:cNvPr id="8" name="Subtitle 2">
            <a:extLst>
              <a:ext uri="{FF2B5EF4-FFF2-40B4-BE49-F238E27FC236}">
                <a16:creationId xmlns:a16="http://schemas.microsoft.com/office/drawing/2014/main" id="{A1FB14F0-F5BB-004D-A009-13A6C668818D}"/>
              </a:ext>
            </a:extLst>
          </p:cNvPr>
          <p:cNvSpPr>
            <a:spLocks noGrp="1"/>
          </p:cNvSpPr>
          <p:nvPr>
            <p:ph type="subTitle" idx="1"/>
          </p:nvPr>
        </p:nvSpPr>
        <p:spPr>
          <a:xfrm>
            <a:off x="871240" y="3145223"/>
            <a:ext cx="10769898" cy="2680647"/>
          </a:xfrm>
        </p:spPr>
        <p:txBody>
          <a:bodyPr/>
          <a:lstStyle>
            <a:lvl1pPr marL="0" indent="0" algn="l">
              <a:buNone/>
              <a:defRPr sz="1800">
                <a:latin typeface="Roboto" panose="02000000000000000000" pitchFamily="2" charset="0"/>
                <a:ea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10" name="Group 9">
            <a:extLst>
              <a:ext uri="{FF2B5EF4-FFF2-40B4-BE49-F238E27FC236}">
                <a16:creationId xmlns:a16="http://schemas.microsoft.com/office/drawing/2014/main" id="{DB62854A-AD67-5D47-8E91-9D039004EF71}"/>
              </a:ext>
            </a:extLst>
          </p:cNvPr>
          <p:cNvGrpSpPr/>
          <p:nvPr userDrawn="1"/>
        </p:nvGrpSpPr>
        <p:grpSpPr>
          <a:xfrm>
            <a:off x="263353" y="6610486"/>
            <a:ext cx="11377785" cy="51403"/>
            <a:chOff x="77148" y="5617762"/>
            <a:chExt cx="11377785" cy="51403"/>
          </a:xfrm>
        </p:grpSpPr>
        <p:sp>
          <p:nvSpPr>
            <p:cNvPr id="12" name="Rectangle 11">
              <a:extLst>
                <a:ext uri="{FF2B5EF4-FFF2-40B4-BE49-F238E27FC236}">
                  <a16:creationId xmlns:a16="http://schemas.microsoft.com/office/drawing/2014/main" id="{435B55A1-3C43-0A46-921A-A0B51D88E34E}"/>
                </a:ext>
              </a:extLst>
            </p:cNvPr>
            <p:cNvSpPr/>
            <p:nvPr/>
          </p:nvSpPr>
          <p:spPr>
            <a:xfrm>
              <a:off x="5981234" y="5617762"/>
              <a:ext cx="3961010" cy="51402"/>
            </a:xfrm>
            <a:prstGeom prst="rect">
              <a:avLst/>
            </a:prstGeom>
            <a:solidFill>
              <a:srgbClr val="235F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B17839F-14F1-2E40-9489-F0E15959CEF9}"/>
                </a:ext>
              </a:extLst>
            </p:cNvPr>
            <p:cNvSpPr/>
            <p:nvPr/>
          </p:nvSpPr>
          <p:spPr>
            <a:xfrm>
              <a:off x="9942245" y="5617762"/>
              <a:ext cx="1512688" cy="51402"/>
            </a:xfrm>
            <a:prstGeom prst="rect">
              <a:avLst/>
            </a:prstGeom>
            <a:solidFill>
              <a:srgbClr val="F3BB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CAFE4E6-8C92-E149-AE31-94D102858D57}"/>
                </a:ext>
              </a:extLst>
            </p:cNvPr>
            <p:cNvSpPr/>
            <p:nvPr/>
          </p:nvSpPr>
          <p:spPr>
            <a:xfrm>
              <a:off x="77148" y="5617763"/>
              <a:ext cx="5904086" cy="51402"/>
            </a:xfrm>
            <a:prstGeom prst="rect">
              <a:avLst/>
            </a:prstGeom>
            <a:solidFill>
              <a:srgbClr val="337D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Slide Number Placeholder 2">
            <a:extLst>
              <a:ext uri="{FF2B5EF4-FFF2-40B4-BE49-F238E27FC236}">
                <a16:creationId xmlns:a16="http://schemas.microsoft.com/office/drawing/2014/main" id="{86C544B2-2AFA-B04F-870E-26A7D52FC775}"/>
              </a:ext>
            </a:extLst>
          </p:cNvPr>
          <p:cNvSpPr txBox="1">
            <a:spLocks/>
          </p:cNvSpPr>
          <p:nvPr userDrawn="1"/>
        </p:nvSpPr>
        <p:spPr>
          <a:xfrm>
            <a:off x="9329464" y="645333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tx1"/>
                </a:solidFill>
                <a:latin typeface="Roboto" panose="02000000000000000000" pitchFamily="2" charset="0"/>
                <a:ea typeface="Roboto"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86F4AD-0CCF-964B-B654-20164D9F9E75}" type="slidenum">
              <a:rPr lang="en-US" smtClean="0"/>
              <a:pPr/>
              <a:t>‹#›</a:t>
            </a:fld>
            <a:endParaRPr lang="en-US" dirty="0"/>
          </a:p>
        </p:txBody>
      </p:sp>
      <p:pic>
        <p:nvPicPr>
          <p:cNvPr id="21" name="Picture 20">
            <a:extLst>
              <a:ext uri="{FF2B5EF4-FFF2-40B4-BE49-F238E27FC236}">
                <a16:creationId xmlns:a16="http://schemas.microsoft.com/office/drawing/2014/main" id="{61FA3762-E3F6-1145-B5FC-C38198C8BACD}"/>
              </a:ext>
            </a:extLst>
          </p:cNvPr>
          <p:cNvPicPr>
            <a:picLocks noChangeAspect="1"/>
          </p:cNvPicPr>
          <p:nvPr userDrawn="1"/>
        </p:nvPicPr>
        <p:blipFill>
          <a:blip r:embed="rId2"/>
          <a:stretch>
            <a:fillRect/>
          </a:stretch>
        </p:blipFill>
        <p:spPr>
          <a:xfrm>
            <a:off x="263352" y="284115"/>
            <a:ext cx="1944212" cy="463757"/>
          </a:xfrm>
          <a:prstGeom prst="rect">
            <a:avLst/>
          </a:prstGeom>
        </p:spPr>
      </p:pic>
    </p:spTree>
    <p:extLst>
      <p:ext uri="{BB962C8B-B14F-4D97-AF65-F5344CB8AC3E}">
        <p14:creationId xmlns:p14="http://schemas.microsoft.com/office/powerpoint/2010/main" val="403124015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a:t>
            </a:r>
          </a:p>
        </p:txBody>
      </p:sp>
      <p:sp>
        <p:nvSpPr>
          <p:cNvPr id="4" name="Footer Placeholder 3"/>
          <p:cNvSpPr>
            <a:spLocks noGrp="1"/>
          </p:cNvSpPr>
          <p:nvPr>
            <p:ph type="ftr" sz="quarter" idx="11"/>
          </p:nvPr>
        </p:nvSpPr>
        <p:spPr>
          <a:xfrm>
            <a:off x="838202" y="6356360"/>
            <a:ext cx="7315201" cy="365125"/>
          </a:xfrm>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44242D87-E7EC-47CB-9B24-ABCD3CF6255D}" type="slidenum">
              <a:rPr lang="id-ID" smtClean="0">
                <a:solidFill>
                  <a:prstClr val="black">
                    <a:tint val="75000"/>
                  </a:prstClr>
                </a:solidFill>
              </a:rPr>
              <a:pPr/>
              <a:t>‹#›</a:t>
            </a:fld>
            <a:endParaRPr lang="id-ID">
              <a:solidFill>
                <a:prstClr val="black">
                  <a:tint val="75000"/>
                </a:prstClr>
              </a:solidFill>
            </a:endParaRPr>
          </a:p>
        </p:txBody>
      </p:sp>
      <p:sp>
        <p:nvSpPr>
          <p:cNvPr id="6" name="Content Placeholder 3"/>
          <p:cNvSpPr>
            <a:spLocks noGrp="1"/>
          </p:cNvSpPr>
          <p:nvPr>
            <p:ph sz="half" idx="2"/>
          </p:nvPr>
        </p:nvSpPr>
        <p:spPr>
          <a:xfrm>
            <a:off x="838202" y="1396322"/>
            <a:ext cx="10515599" cy="4769707"/>
          </a:xfrm>
        </p:spPr>
        <p:txBody>
          <a:bodyPr/>
          <a:lstStyle/>
          <a:p>
            <a:pPr lvl="0"/>
            <a:r>
              <a:rPr lang="en-US" dirty="0"/>
              <a:t>Click to edi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7391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9FFC0DFC-9834-47A3-A8EF-EE30A936B7B5}"/>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lvl1pPr>
              <a:defRPr sz="1200"/>
            </a:lvl1pPr>
          </a:lstStyle>
          <a:p>
            <a:endParaRPr lang="en-ID"/>
          </a:p>
        </p:txBody>
      </p:sp>
    </p:spTree>
    <p:extLst>
      <p:ext uri="{BB962C8B-B14F-4D97-AF65-F5344CB8AC3E}">
        <p14:creationId xmlns:p14="http://schemas.microsoft.com/office/powerpoint/2010/main" val="2374590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8"/>
        <p:cNvGrpSpPr/>
        <p:nvPr/>
      </p:nvGrpSpPr>
      <p:grpSpPr>
        <a:xfrm>
          <a:off x="0" y="0"/>
          <a:ext cx="0" cy="0"/>
          <a:chOff x="0" y="0"/>
          <a:chExt cx="0" cy="0"/>
        </a:xfrm>
      </p:grpSpPr>
      <p:pic>
        <p:nvPicPr>
          <p:cNvPr id="19" name="Google Shape;19;p3"/>
          <p:cNvPicPr preferRelativeResize="0"/>
          <p:nvPr/>
        </p:nvPicPr>
        <p:blipFill rotWithShape="1">
          <a:blip r:embed="rId2">
            <a:alphaModFix amt="20000"/>
          </a:blip>
          <a:srcRect l="765" t="663" r="3572" b="2907"/>
          <a:stretch/>
        </p:blipFill>
        <p:spPr>
          <a:xfrm>
            <a:off x="0" y="0"/>
            <a:ext cx="12187066" cy="6858000"/>
          </a:xfrm>
          <a:prstGeom prst="rect">
            <a:avLst/>
          </a:prstGeom>
          <a:noFill/>
          <a:ln>
            <a:noFill/>
          </a:ln>
        </p:spPr>
      </p:pic>
      <p:pic>
        <p:nvPicPr>
          <p:cNvPr id="20" name="Google Shape;20;p3"/>
          <p:cNvPicPr preferRelativeResize="0"/>
          <p:nvPr/>
        </p:nvPicPr>
        <p:blipFill rotWithShape="1">
          <a:blip r:embed="rId3">
            <a:alphaModFix amt="35000"/>
          </a:blip>
          <a:srcRect l="4547" t="60185" r="41793" b="9654"/>
          <a:stretch/>
        </p:blipFill>
        <p:spPr>
          <a:xfrm>
            <a:off x="0" y="0"/>
            <a:ext cx="12187066" cy="6858000"/>
          </a:xfrm>
          <a:prstGeom prst="rect">
            <a:avLst/>
          </a:prstGeom>
          <a:noFill/>
          <a:ln>
            <a:noFill/>
          </a:ln>
        </p:spPr>
      </p:pic>
      <p:sp>
        <p:nvSpPr>
          <p:cNvPr id="21" name="Google Shape;21;p3"/>
          <p:cNvSpPr txBox="1">
            <a:spLocks noGrp="1"/>
          </p:cNvSpPr>
          <p:nvPr>
            <p:ph type="title"/>
          </p:nvPr>
        </p:nvSpPr>
        <p:spPr>
          <a:xfrm>
            <a:off x="1545673" y="792112"/>
            <a:ext cx="9100654" cy="898576"/>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
          <p:cNvSpPr txBox="1">
            <a:spLocks noGrp="1"/>
          </p:cNvSpPr>
          <p:nvPr>
            <p:ph type="body" idx="1"/>
          </p:nvPr>
        </p:nvSpPr>
        <p:spPr>
          <a:xfrm>
            <a:off x="1545672" y="1825625"/>
            <a:ext cx="9100655"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 name="Google Shape;23;p3"/>
          <p:cNvPicPr preferRelativeResize="0"/>
          <p:nvPr/>
        </p:nvPicPr>
        <p:blipFill rotWithShape="1">
          <a:blip r:embed="rId4">
            <a:alphaModFix/>
          </a:blip>
          <a:srcRect/>
          <a:stretch/>
        </p:blipFill>
        <p:spPr>
          <a:xfrm>
            <a:off x="10721636" y="230188"/>
            <a:ext cx="1264328" cy="561924"/>
          </a:xfrm>
          <a:prstGeom prst="rect">
            <a:avLst/>
          </a:prstGeom>
          <a:noFill/>
          <a:ln>
            <a:noFill/>
          </a:ln>
        </p:spPr>
      </p:pic>
      <p:grpSp>
        <p:nvGrpSpPr>
          <p:cNvPr id="24" name="Google Shape;24;p3"/>
          <p:cNvGrpSpPr/>
          <p:nvPr/>
        </p:nvGrpSpPr>
        <p:grpSpPr>
          <a:xfrm>
            <a:off x="0" y="6487887"/>
            <a:ext cx="10322956" cy="117476"/>
            <a:chOff x="0" y="6494462"/>
            <a:chExt cx="8465128" cy="114156"/>
          </a:xfrm>
        </p:grpSpPr>
        <p:sp>
          <p:nvSpPr>
            <p:cNvPr id="25" name="Google Shape;25;p3"/>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3"/>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grpSp>
      <p:sp>
        <p:nvSpPr>
          <p:cNvPr id="27" name="Google Shape;27;p3"/>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0" i="0" u="none" strike="noStrike" cap="none">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pic>
        <p:nvPicPr>
          <p:cNvPr id="28" name="Google Shape;28;p3"/>
          <p:cNvPicPr preferRelativeResize="0"/>
          <p:nvPr/>
        </p:nvPicPr>
        <p:blipFill rotWithShape="1">
          <a:blip r:embed="rId5">
            <a:alphaModFix/>
          </a:blip>
          <a:srcRect/>
          <a:stretch/>
        </p:blipFill>
        <p:spPr>
          <a:xfrm>
            <a:off x="397641" y="210871"/>
            <a:ext cx="1264328" cy="555579"/>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87000246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643900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pic>
        <p:nvPicPr>
          <p:cNvPr id="30" name="Google Shape;30;p4"/>
          <p:cNvPicPr preferRelativeResize="0"/>
          <p:nvPr/>
        </p:nvPicPr>
        <p:blipFill rotWithShape="1">
          <a:blip r:embed="rId2">
            <a:alphaModFix amt="35000"/>
          </a:blip>
          <a:srcRect l="4547" t="60185" r="41793" b="9654"/>
          <a:stretch/>
        </p:blipFill>
        <p:spPr>
          <a:xfrm>
            <a:off x="33179" y="0"/>
            <a:ext cx="12187066" cy="6858000"/>
          </a:xfrm>
          <a:prstGeom prst="rect">
            <a:avLst/>
          </a:prstGeom>
          <a:noFill/>
          <a:ln>
            <a:noFill/>
          </a:ln>
        </p:spPr>
      </p:pic>
      <p:pic>
        <p:nvPicPr>
          <p:cNvPr id="31" name="Google Shape;31;p4"/>
          <p:cNvPicPr preferRelativeResize="0"/>
          <p:nvPr/>
        </p:nvPicPr>
        <p:blipFill rotWithShape="1">
          <a:blip r:embed="rId3">
            <a:alphaModFix amt="20000"/>
          </a:blip>
          <a:srcRect l="765" t="663" r="3572" b="2907"/>
          <a:stretch/>
        </p:blipFill>
        <p:spPr>
          <a:xfrm>
            <a:off x="0" y="0"/>
            <a:ext cx="12187066" cy="6858000"/>
          </a:xfrm>
          <a:prstGeom prst="rect">
            <a:avLst/>
          </a:prstGeom>
          <a:noFill/>
          <a:ln>
            <a:noFill/>
          </a:ln>
        </p:spPr>
      </p:pic>
      <p:pic>
        <p:nvPicPr>
          <p:cNvPr id="32" name="Google Shape;32;p4"/>
          <p:cNvPicPr preferRelativeResize="0"/>
          <p:nvPr/>
        </p:nvPicPr>
        <p:blipFill rotWithShape="1">
          <a:blip r:embed="rId4">
            <a:alphaModFix/>
          </a:blip>
          <a:srcRect/>
          <a:stretch/>
        </p:blipFill>
        <p:spPr>
          <a:xfrm>
            <a:off x="10721636" y="230188"/>
            <a:ext cx="1264328" cy="561924"/>
          </a:xfrm>
          <a:prstGeom prst="rect">
            <a:avLst/>
          </a:prstGeom>
          <a:noFill/>
          <a:ln>
            <a:noFill/>
          </a:ln>
        </p:spPr>
      </p:pic>
      <p:sp>
        <p:nvSpPr>
          <p:cNvPr id="33" name="Google Shape;33;p4"/>
          <p:cNvSpPr txBox="1">
            <a:spLocks noGrp="1"/>
          </p:cNvSpPr>
          <p:nvPr>
            <p:ph type="title"/>
          </p:nvPr>
        </p:nvSpPr>
        <p:spPr>
          <a:xfrm>
            <a:off x="2042039" y="365125"/>
            <a:ext cx="8169345"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4" name="Google Shape;34;p4"/>
          <p:cNvGrpSpPr/>
          <p:nvPr/>
        </p:nvGrpSpPr>
        <p:grpSpPr>
          <a:xfrm>
            <a:off x="0" y="6487887"/>
            <a:ext cx="10322956" cy="117476"/>
            <a:chOff x="0" y="6494462"/>
            <a:chExt cx="8465128" cy="114156"/>
          </a:xfrm>
        </p:grpSpPr>
        <p:sp>
          <p:nvSpPr>
            <p:cNvPr id="35" name="Google Shape;35;p4"/>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 name="Google Shape;36;p4"/>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7" name="Google Shape;37;p4"/>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pic>
        <p:nvPicPr>
          <p:cNvPr id="38" name="Google Shape;38;p4"/>
          <p:cNvPicPr preferRelativeResize="0"/>
          <p:nvPr/>
        </p:nvPicPr>
        <p:blipFill rotWithShape="1">
          <a:blip r:embed="rId5">
            <a:alphaModFix/>
          </a:blip>
          <a:srcRect/>
          <a:stretch/>
        </p:blipFill>
        <p:spPr>
          <a:xfrm>
            <a:off x="397641" y="210871"/>
            <a:ext cx="1264328" cy="555579"/>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9"/>
        <p:cNvGrpSpPr/>
        <p:nvPr/>
      </p:nvGrpSpPr>
      <p:grpSpPr>
        <a:xfrm>
          <a:off x="0" y="0"/>
          <a:ext cx="0" cy="0"/>
          <a:chOff x="0" y="0"/>
          <a:chExt cx="0" cy="0"/>
        </a:xfrm>
      </p:grpSpPr>
      <p:pic>
        <p:nvPicPr>
          <p:cNvPr id="40" name="Google Shape;40;p5"/>
          <p:cNvPicPr preferRelativeResize="0"/>
          <p:nvPr/>
        </p:nvPicPr>
        <p:blipFill rotWithShape="1">
          <a:blip r:embed="rId2">
            <a:alphaModFix amt="5000"/>
          </a:blip>
          <a:srcRect l="4547" t="60185" r="41793" b="9654"/>
          <a:stretch/>
        </p:blipFill>
        <p:spPr>
          <a:xfrm>
            <a:off x="0" y="0"/>
            <a:ext cx="12187066" cy="6858000"/>
          </a:xfrm>
          <a:prstGeom prst="rect">
            <a:avLst/>
          </a:prstGeom>
          <a:noFill/>
          <a:ln>
            <a:noFill/>
          </a:ln>
        </p:spPr>
      </p:pic>
      <p:pic>
        <p:nvPicPr>
          <p:cNvPr id="41" name="Google Shape;41;p5"/>
          <p:cNvPicPr preferRelativeResize="0"/>
          <p:nvPr/>
        </p:nvPicPr>
        <p:blipFill rotWithShape="1">
          <a:blip r:embed="rId3">
            <a:alphaModFix/>
          </a:blip>
          <a:srcRect l="53083" r="9597" b="480"/>
          <a:stretch/>
        </p:blipFill>
        <p:spPr>
          <a:xfrm rot="-5400000">
            <a:off x="2667001" y="-2667003"/>
            <a:ext cx="6857999" cy="12192001"/>
          </a:xfrm>
          <a:prstGeom prst="rect">
            <a:avLst/>
          </a:prstGeom>
          <a:noFill/>
          <a:ln>
            <a:noFill/>
          </a:ln>
        </p:spPr>
      </p:pic>
      <p:sp>
        <p:nvSpPr>
          <p:cNvPr id="42" name="Google Shape;42;p5"/>
          <p:cNvSpPr/>
          <p:nvPr/>
        </p:nvSpPr>
        <p:spPr>
          <a:xfrm>
            <a:off x="0" y="0"/>
            <a:ext cx="12192000" cy="6858000"/>
          </a:xfrm>
          <a:prstGeom prst="rect">
            <a:avLst/>
          </a:prstGeom>
          <a:solidFill>
            <a:schemeClr val="accent2">
              <a:alpha val="96078"/>
            </a:schemeClr>
          </a:solidFill>
          <a:ln w="12700" cap="flat" cmpd="sng">
            <a:solidFill>
              <a:srgbClr val="2375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 name="Google Shape;43;p5"/>
          <p:cNvSpPr/>
          <p:nvPr/>
        </p:nvSpPr>
        <p:spPr>
          <a:xfrm>
            <a:off x="4750583" y="3235579"/>
            <a:ext cx="191526" cy="191526"/>
          </a:xfrm>
          <a:prstGeom prst="ellipse">
            <a:avLst/>
          </a:prstGeom>
          <a:solidFill>
            <a:schemeClr val="dk1">
              <a:alpha val="431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sp>
        <p:nvSpPr>
          <p:cNvPr id="44" name="Google Shape;44;p5"/>
          <p:cNvSpPr txBox="1">
            <a:spLocks noGrp="1"/>
          </p:cNvSpPr>
          <p:nvPr>
            <p:ph type="title"/>
          </p:nvPr>
        </p:nvSpPr>
        <p:spPr>
          <a:xfrm>
            <a:off x="831850" y="1709739"/>
            <a:ext cx="10515600" cy="2169804"/>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000"/>
              <a:buFont typeface="Roboto"/>
              <a:buNone/>
              <a:defRPr sz="4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5"/>
          <p:cNvSpPr txBox="1">
            <a:spLocks noGrp="1"/>
          </p:cNvSpPr>
          <p:nvPr>
            <p:ph type="body" idx="1"/>
          </p:nvPr>
        </p:nvSpPr>
        <p:spPr>
          <a:xfrm>
            <a:off x="831850" y="3928431"/>
            <a:ext cx="10515600" cy="1500187"/>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1"/>
              </a:buClr>
              <a:buSzPts val="1800"/>
              <a:buNone/>
              <a:defRPr sz="1800" b="1">
                <a:solidFill>
                  <a:schemeClr val="dk1"/>
                </a:solidFill>
              </a:defRPr>
            </a:lvl1pPr>
            <a:lvl2pPr marL="914400" lvl="1" indent="-228600" algn="l">
              <a:lnSpc>
                <a:spcPct val="90000"/>
              </a:lnSpc>
              <a:spcBef>
                <a:spcPts val="500"/>
              </a:spcBef>
              <a:spcAft>
                <a:spcPts val="0"/>
              </a:spcAft>
              <a:buClr>
                <a:srgbClr val="888D9E"/>
              </a:buClr>
              <a:buSzPts val="2000"/>
              <a:buNone/>
              <a:defRPr sz="2000">
                <a:solidFill>
                  <a:srgbClr val="888D9E"/>
                </a:solidFill>
              </a:defRPr>
            </a:lvl2pPr>
            <a:lvl3pPr marL="1371600" lvl="2" indent="-228600" algn="l">
              <a:lnSpc>
                <a:spcPct val="90000"/>
              </a:lnSpc>
              <a:spcBef>
                <a:spcPts val="500"/>
              </a:spcBef>
              <a:spcAft>
                <a:spcPts val="0"/>
              </a:spcAft>
              <a:buClr>
                <a:srgbClr val="888D9E"/>
              </a:buClr>
              <a:buSzPts val="1800"/>
              <a:buNone/>
              <a:defRPr sz="1800">
                <a:solidFill>
                  <a:srgbClr val="888D9E"/>
                </a:solidFill>
              </a:defRPr>
            </a:lvl3pPr>
            <a:lvl4pPr marL="1828800" lvl="3" indent="-228600" algn="l">
              <a:lnSpc>
                <a:spcPct val="90000"/>
              </a:lnSpc>
              <a:spcBef>
                <a:spcPts val="500"/>
              </a:spcBef>
              <a:spcAft>
                <a:spcPts val="0"/>
              </a:spcAft>
              <a:buClr>
                <a:srgbClr val="888D9E"/>
              </a:buClr>
              <a:buSzPts val="1600"/>
              <a:buNone/>
              <a:defRPr sz="1600">
                <a:solidFill>
                  <a:srgbClr val="888D9E"/>
                </a:solidFill>
              </a:defRPr>
            </a:lvl4pPr>
            <a:lvl5pPr marL="2286000" lvl="4" indent="-228600" algn="l">
              <a:lnSpc>
                <a:spcPct val="90000"/>
              </a:lnSpc>
              <a:spcBef>
                <a:spcPts val="500"/>
              </a:spcBef>
              <a:spcAft>
                <a:spcPts val="0"/>
              </a:spcAft>
              <a:buClr>
                <a:srgbClr val="888D9E"/>
              </a:buClr>
              <a:buSzPts val="1600"/>
              <a:buNone/>
              <a:defRPr sz="1600">
                <a:solidFill>
                  <a:srgbClr val="888D9E"/>
                </a:solidFill>
              </a:defRPr>
            </a:lvl5pPr>
            <a:lvl6pPr marL="2743200" lvl="5" indent="-228600" algn="l">
              <a:lnSpc>
                <a:spcPct val="90000"/>
              </a:lnSpc>
              <a:spcBef>
                <a:spcPts val="500"/>
              </a:spcBef>
              <a:spcAft>
                <a:spcPts val="0"/>
              </a:spcAft>
              <a:buClr>
                <a:srgbClr val="888D9E"/>
              </a:buClr>
              <a:buSzPts val="1600"/>
              <a:buNone/>
              <a:defRPr sz="1600">
                <a:solidFill>
                  <a:srgbClr val="888D9E"/>
                </a:solidFill>
              </a:defRPr>
            </a:lvl6pPr>
            <a:lvl7pPr marL="3200400" lvl="6" indent="-228600" algn="l">
              <a:lnSpc>
                <a:spcPct val="90000"/>
              </a:lnSpc>
              <a:spcBef>
                <a:spcPts val="500"/>
              </a:spcBef>
              <a:spcAft>
                <a:spcPts val="0"/>
              </a:spcAft>
              <a:buClr>
                <a:srgbClr val="888D9E"/>
              </a:buClr>
              <a:buSzPts val="1600"/>
              <a:buNone/>
              <a:defRPr sz="1600">
                <a:solidFill>
                  <a:srgbClr val="888D9E"/>
                </a:solidFill>
              </a:defRPr>
            </a:lvl7pPr>
            <a:lvl8pPr marL="3657600" lvl="7" indent="-228600" algn="l">
              <a:lnSpc>
                <a:spcPct val="90000"/>
              </a:lnSpc>
              <a:spcBef>
                <a:spcPts val="500"/>
              </a:spcBef>
              <a:spcAft>
                <a:spcPts val="0"/>
              </a:spcAft>
              <a:buClr>
                <a:srgbClr val="888D9E"/>
              </a:buClr>
              <a:buSzPts val="1600"/>
              <a:buNone/>
              <a:defRPr sz="1600">
                <a:solidFill>
                  <a:srgbClr val="888D9E"/>
                </a:solidFill>
              </a:defRPr>
            </a:lvl8pPr>
            <a:lvl9pPr marL="4114800" lvl="8" indent="-228600" algn="l">
              <a:lnSpc>
                <a:spcPct val="90000"/>
              </a:lnSpc>
              <a:spcBef>
                <a:spcPts val="500"/>
              </a:spcBef>
              <a:spcAft>
                <a:spcPts val="0"/>
              </a:spcAft>
              <a:buClr>
                <a:srgbClr val="888D9E"/>
              </a:buClr>
              <a:buSzPts val="1600"/>
              <a:buNone/>
              <a:defRPr sz="1600">
                <a:solidFill>
                  <a:srgbClr val="888D9E"/>
                </a:solidFill>
              </a:defRPr>
            </a:lvl9pPr>
          </a:lstStyle>
          <a:p>
            <a:endParaRPr/>
          </a:p>
        </p:txBody>
      </p:sp>
      <p:pic>
        <p:nvPicPr>
          <p:cNvPr id="46" name="Google Shape;46;p5"/>
          <p:cNvPicPr preferRelativeResize="0"/>
          <p:nvPr/>
        </p:nvPicPr>
        <p:blipFill rotWithShape="1">
          <a:blip r:embed="rId4">
            <a:alphaModFix/>
          </a:blip>
          <a:srcRect/>
          <a:stretch/>
        </p:blipFill>
        <p:spPr>
          <a:xfrm>
            <a:off x="-101544" y="-349018"/>
            <a:ext cx="2772702" cy="1412122"/>
          </a:xfrm>
          <a:prstGeom prst="rect">
            <a:avLst/>
          </a:prstGeom>
          <a:noFill/>
          <a:ln>
            <a:noFill/>
          </a:ln>
        </p:spPr>
      </p:pic>
      <p:pic>
        <p:nvPicPr>
          <p:cNvPr id="47" name="Google Shape;47;p5"/>
          <p:cNvPicPr preferRelativeResize="0"/>
          <p:nvPr/>
        </p:nvPicPr>
        <p:blipFill rotWithShape="1">
          <a:blip r:embed="rId5">
            <a:alphaModFix/>
          </a:blip>
          <a:srcRect/>
          <a:stretch/>
        </p:blipFill>
        <p:spPr>
          <a:xfrm>
            <a:off x="10720230" y="230185"/>
            <a:ext cx="1265734" cy="561924"/>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48"/>
        <p:cNvGrpSpPr/>
        <p:nvPr/>
      </p:nvGrpSpPr>
      <p:grpSpPr>
        <a:xfrm>
          <a:off x="0" y="0"/>
          <a:ext cx="0" cy="0"/>
          <a:chOff x="0" y="0"/>
          <a:chExt cx="0" cy="0"/>
        </a:xfrm>
      </p:grpSpPr>
      <p:pic>
        <p:nvPicPr>
          <p:cNvPr id="49" name="Google Shape;49;p6"/>
          <p:cNvPicPr preferRelativeResize="0"/>
          <p:nvPr/>
        </p:nvPicPr>
        <p:blipFill rotWithShape="1">
          <a:blip r:embed="rId2">
            <a:alphaModFix amt="20000"/>
          </a:blip>
          <a:srcRect l="765" t="663" r="3572" b="2907"/>
          <a:stretch/>
        </p:blipFill>
        <p:spPr>
          <a:xfrm>
            <a:off x="0" y="0"/>
            <a:ext cx="12187066" cy="6858000"/>
          </a:xfrm>
          <a:prstGeom prst="rect">
            <a:avLst/>
          </a:prstGeom>
          <a:noFill/>
          <a:ln>
            <a:noFill/>
          </a:ln>
        </p:spPr>
      </p:pic>
      <p:pic>
        <p:nvPicPr>
          <p:cNvPr id="50" name="Google Shape;50;p6"/>
          <p:cNvPicPr preferRelativeResize="0"/>
          <p:nvPr/>
        </p:nvPicPr>
        <p:blipFill rotWithShape="1">
          <a:blip r:embed="rId3">
            <a:alphaModFix amt="35000"/>
          </a:blip>
          <a:srcRect l="4547" t="60185" r="41793" b="9654"/>
          <a:stretch/>
        </p:blipFill>
        <p:spPr>
          <a:xfrm>
            <a:off x="0" y="0"/>
            <a:ext cx="12187066" cy="6858000"/>
          </a:xfrm>
          <a:prstGeom prst="rect">
            <a:avLst/>
          </a:prstGeom>
          <a:noFill/>
          <a:ln>
            <a:noFill/>
          </a:ln>
        </p:spPr>
      </p:pic>
      <p:sp>
        <p:nvSpPr>
          <p:cNvPr id="51" name="Google Shape;51;p6"/>
          <p:cNvSpPr txBox="1">
            <a:spLocks noGrp="1"/>
          </p:cNvSpPr>
          <p:nvPr>
            <p:ph type="title"/>
          </p:nvPr>
        </p:nvSpPr>
        <p:spPr>
          <a:xfrm>
            <a:off x="1545673" y="792112"/>
            <a:ext cx="9100654" cy="898576"/>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 name="Google Shape;52;p6"/>
          <p:cNvSpPr txBox="1">
            <a:spLocks noGrp="1"/>
          </p:cNvSpPr>
          <p:nvPr>
            <p:ph type="body" idx="1"/>
          </p:nvPr>
        </p:nvSpPr>
        <p:spPr>
          <a:xfrm>
            <a:off x="1545672" y="1825625"/>
            <a:ext cx="9100655"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53" name="Google Shape;53;p6"/>
          <p:cNvPicPr preferRelativeResize="0"/>
          <p:nvPr/>
        </p:nvPicPr>
        <p:blipFill rotWithShape="1">
          <a:blip r:embed="rId4">
            <a:alphaModFix/>
          </a:blip>
          <a:srcRect/>
          <a:stretch/>
        </p:blipFill>
        <p:spPr>
          <a:xfrm>
            <a:off x="10721636" y="230188"/>
            <a:ext cx="1264328" cy="561924"/>
          </a:xfrm>
          <a:prstGeom prst="rect">
            <a:avLst/>
          </a:prstGeom>
          <a:noFill/>
          <a:ln>
            <a:noFill/>
          </a:ln>
        </p:spPr>
      </p:pic>
      <p:grpSp>
        <p:nvGrpSpPr>
          <p:cNvPr id="54" name="Google Shape;54;p6"/>
          <p:cNvGrpSpPr/>
          <p:nvPr/>
        </p:nvGrpSpPr>
        <p:grpSpPr>
          <a:xfrm>
            <a:off x="0" y="6487887"/>
            <a:ext cx="10322956" cy="117476"/>
            <a:chOff x="0" y="6494462"/>
            <a:chExt cx="8465128" cy="114156"/>
          </a:xfrm>
        </p:grpSpPr>
        <p:sp>
          <p:nvSpPr>
            <p:cNvPr id="55" name="Google Shape;55;p6"/>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6"/>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7" name="Google Shape;57;p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6"/>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pic>
        <p:nvPicPr>
          <p:cNvPr id="59" name="Google Shape;59;p6"/>
          <p:cNvPicPr preferRelativeResize="0"/>
          <p:nvPr/>
        </p:nvPicPr>
        <p:blipFill rotWithShape="1">
          <a:blip r:embed="rId5">
            <a:alphaModFix/>
          </a:blip>
          <a:srcRect/>
          <a:stretch/>
        </p:blipFill>
        <p:spPr>
          <a:xfrm>
            <a:off x="397641" y="210871"/>
            <a:ext cx="1264328" cy="555579"/>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60"/>
        <p:cNvGrpSpPr/>
        <p:nvPr/>
      </p:nvGrpSpPr>
      <p:grpSpPr>
        <a:xfrm>
          <a:off x="0" y="0"/>
          <a:ext cx="0" cy="0"/>
          <a:chOff x="0" y="0"/>
          <a:chExt cx="0" cy="0"/>
        </a:xfrm>
      </p:grpSpPr>
      <p:pic>
        <p:nvPicPr>
          <p:cNvPr id="61" name="Google Shape;61;p7"/>
          <p:cNvPicPr preferRelativeResize="0"/>
          <p:nvPr/>
        </p:nvPicPr>
        <p:blipFill rotWithShape="1">
          <a:blip r:embed="rId2">
            <a:alphaModFix amt="20000"/>
          </a:blip>
          <a:srcRect l="765" t="663" r="3572" b="2907"/>
          <a:stretch/>
        </p:blipFill>
        <p:spPr>
          <a:xfrm>
            <a:off x="0" y="0"/>
            <a:ext cx="12187066" cy="6858000"/>
          </a:xfrm>
          <a:prstGeom prst="rect">
            <a:avLst/>
          </a:prstGeom>
          <a:noFill/>
          <a:ln>
            <a:noFill/>
          </a:ln>
        </p:spPr>
      </p:pic>
      <p:sp>
        <p:nvSpPr>
          <p:cNvPr id="62" name="Google Shape;62;p7"/>
          <p:cNvSpPr/>
          <p:nvPr/>
        </p:nvSpPr>
        <p:spPr>
          <a:xfrm>
            <a:off x="0" y="1825625"/>
            <a:ext cx="12192000" cy="4351338"/>
          </a:xfrm>
          <a:prstGeom prst="rect">
            <a:avLst/>
          </a:prstGeom>
          <a:solidFill>
            <a:schemeClr val="dk1"/>
          </a:solidFill>
          <a:ln w="12700" cap="flat" cmpd="sng">
            <a:solidFill>
              <a:srgbClr val="2375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 name="Google Shape;63;p7"/>
          <p:cNvSpPr txBox="1">
            <a:spLocks noGrp="1"/>
          </p:cNvSpPr>
          <p:nvPr>
            <p:ph type="title"/>
          </p:nvPr>
        </p:nvSpPr>
        <p:spPr>
          <a:xfrm>
            <a:off x="1545673" y="792112"/>
            <a:ext cx="9100654" cy="898576"/>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7"/>
          <p:cNvSpPr txBox="1">
            <a:spLocks noGrp="1"/>
          </p:cNvSpPr>
          <p:nvPr>
            <p:ph type="body" idx="1"/>
          </p:nvPr>
        </p:nvSpPr>
        <p:spPr>
          <a:xfrm>
            <a:off x="1545672" y="1825625"/>
            <a:ext cx="9100655" cy="4351338"/>
          </a:xfrm>
          <a:prstGeom prst="rect">
            <a:avLst/>
          </a:prstGeom>
          <a:solidFill>
            <a:schemeClr val="dk1"/>
          </a:solid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a:solidFill>
                  <a:schemeClr val="lt1"/>
                </a:solidFill>
              </a:defRPr>
            </a:lvl1pPr>
            <a:lvl2pPr marL="914400" lvl="1" indent="-342900" algn="l">
              <a:lnSpc>
                <a:spcPct val="90000"/>
              </a:lnSpc>
              <a:spcBef>
                <a:spcPts val="500"/>
              </a:spcBef>
              <a:spcAft>
                <a:spcPts val="0"/>
              </a:spcAft>
              <a:buClr>
                <a:schemeClr val="lt1"/>
              </a:buClr>
              <a:buSzPts val="1800"/>
              <a:buChar char="•"/>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65" name="Google Shape;65;p7"/>
          <p:cNvPicPr preferRelativeResize="0"/>
          <p:nvPr/>
        </p:nvPicPr>
        <p:blipFill rotWithShape="1">
          <a:blip r:embed="rId3">
            <a:alphaModFix amt="5000"/>
          </a:blip>
          <a:srcRect l="4547" t="60185" r="41793" b="9654"/>
          <a:stretch/>
        </p:blipFill>
        <p:spPr>
          <a:xfrm>
            <a:off x="-4934" y="0"/>
            <a:ext cx="12187066" cy="6858000"/>
          </a:xfrm>
          <a:prstGeom prst="rect">
            <a:avLst/>
          </a:prstGeom>
          <a:noFill/>
          <a:ln>
            <a:noFill/>
          </a:ln>
        </p:spPr>
      </p:pic>
      <p:pic>
        <p:nvPicPr>
          <p:cNvPr id="66" name="Google Shape;66;p7"/>
          <p:cNvPicPr preferRelativeResize="0"/>
          <p:nvPr/>
        </p:nvPicPr>
        <p:blipFill rotWithShape="1">
          <a:blip r:embed="rId4">
            <a:alphaModFix/>
          </a:blip>
          <a:srcRect/>
          <a:stretch/>
        </p:blipFill>
        <p:spPr>
          <a:xfrm>
            <a:off x="10721636" y="230188"/>
            <a:ext cx="1264328" cy="561924"/>
          </a:xfrm>
          <a:prstGeom prst="rect">
            <a:avLst/>
          </a:prstGeom>
          <a:noFill/>
          <a:ln>
            <a:noFill/>
          </a:ln>
        </p:spPr>
      </p:pic>
      <p:grpSp>
        <p:nvGrpSpPr>
          <p:cNvPr id="67" name="Google Shape;67;p7"/>
          <p:cNvGrpSpPr/>
          <p:nvPr/>
        </p:nvGrpSpPr>
        <p:grpSpPr>
          <a:xfrm>
            <a:off x="0" y="6487887"/>
            <a:ext cx="10322956" cy="117476"/>
            <a:chOff x="0" y="6494462"/>
            <a:chExt cx="8465128" cy="114156"/>
          </a:xfrm>
        </p:grpSpPr>
        <p:sp>
          <p:nvSpPr>
            <p:cNvPr id="68" name="Google Shape;68;p7"/>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 name="Google Shape;69;p7"/>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0" name="Google Shape;70;p7"/>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pic>
        <p:nvPicPr>
          <p:cNvPr id="71" name="Google Shape;71;p7"/>
          <p:cNvPicPr preferRelativeResize="0"/>
          <p:nvPr/>
        </p:nvPicPr>
        <p:blipFill rotWithShape="1">
          <a:blip r:embed="rId5">
            <a:alphaModFix/>
          </a:blip>
          <a:srcRect/>
          <a:stretch/>
        </p:blipFill>
        <p:spPr>
          <a:xfrm>
            <a:off x="397641" y="210871"/>
            <a:ext cx="1264328" cy="555579"/>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72"/>
        <p:cNvGrpSpPr/>
        <p:nvPr/>
      </p:nvGrpSpPr>
      <p:grpSpPr>
        <a:xfrm>
          <a:off x="0" y="0"/>
          <a:ext cx="0" cy="0"/>
          <a:chOff x="0" y="0"/>
          <a:chExt cx="0" cy="0"/>
        </a:xfrm>
      </p:grpSpPr>
      <p:pic>
        <p:nvPicPr>
          <p:cNvPr id="73" name="Google Shape;73;p8"/>
          <p:cNvPicPr preferRelativeResize="0"/>
          <p:nvPr/>
        </p:nvPicPr>
        <p:blipFill rotWithShape="1">
          <a:blip r:embed="rId2">
            <a:alphaModFix amt="5000"/>
          </a:blip>
          <a:srcRect l="4547" t="60185" r="41793" b="9654"/>
          <a:stretch/>
        </p:blipFill>
        <p:spPr>
          <a:xfrm>
            <a:off x="0" y="0"/>
            <a:ext cx="12187066" cy="6858000"/>
          </a:xfrm>
          <a:prstGeom prst="rect">
            <a:avLst/>
          </a:prstGeom>
          <a:noFill/>
          <a:ln>
            <a:noFill/>
          </a:ln>
        </p:spPr>
      </p:pic>
      <p:pic>
        <p:nvPicPr>
          <p:cNvPr id="74" name="Google Shape;74;p8"/>
          <p:cNvPicPr preferRelativeResize="0"/>
          <p:nvPr/>
        </p:nvPicPr>
        <p:blipFill rotWithShape="1">
          <a:blip r:embed="rId3">
            <a:alphaModFix amt="20000"/>
          </a:blip>
          <a:srcRect l="765" t="663" r="3572" b="2907"/>
          <a:stretch/>
        </p:blipFill>
        <p:spPr>
          <a:xfrm>
            <a:off x="0" y="0"/>
            <a:ext cx="12187066" cy="6858000"/>
          </a:xfrm>
          <a:prstGeom prst="rect">
            <a:avLst/>
          </a:prstGeom>
          <a:noFill/>
          <a:ln>
            <a:noFill/>
          </a:ln>
        </p:spPr>
      </p:pic>
      <p:pic>
        <p:nvPicPr>
          <p:cNvPr id="75" name="Google Shape;75;p8"/>
          <p:cNvPicPr preferRelativeResize="0"/>
          <p:nvPr/>
        </p:nvPicPr>
        <p:blipFill rotWithShape="1">
          <a:blip r:embed="rId2">
            <a:alphaModFix amt="35000"/>
          </a:blip>
          <a:srcRect l="4547" t="60185" r="41793" b="9654"/>
          <a:stretch/>
        </p:blipFill>
        <p:spPr>
          <a:xfrm>
            <a:off x="0" y="0"/>
            <a:ext cx="12187066" cy="6858000"/>
          </a:xfrm>
          <a:prstGeom prst="rect">
            <a:avLst/>
          </a:prstGeom>
          <a:noFill/>
          <a:ln>
            <a:noFill/>
          </a:ln>
        </p:spPr>
      </p:pic>
      <p:sp>
        <p:nvSpPr>
          <p:cNvPr id="76" name="Google Shape;76;p8"/>
          <p:cNvSpPr txBox="1">
            <a:spLocks noGrp="1"/>
          </p:cNvSpPr>
          <p:nvPr>
            <p:ph type="title"/>
          </p:nvPr>
        </p:nvSpPr>
        <p:spPr>
          <a:xfrm>
            <a:off x="1886673" y="365125"/>
            <a:ext cx="8759654"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8"/>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8"/>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 name="Google Shape;79;p8"/>
          <p:cNvPicPr preferRelativeResize="0"/>
          <p:nvPr/>
        </p:nvPicPr>
        <p:blipFill rotWithShape="1">
          <a:blip r:embed="rId4">
            <a:alphaModFix/>
          </a:blip>
          <a:srcRect/>
          <a:stretch/>
        </p:blipFill>
        <p:spPr>
          <a:xfrm>
            <a:off x="10721636" y="230188"/>
            <a:ext cx="1264328" cy="561924"/>
          </a:xfrm>
          <a:prstGeom prst="rect">
            <a:avLst/>
          </a:prstGeom>
          <a:noFill/>
          <a:ln>
            <a:noFill/>
          </a:ln>
        </p:spPr>
      </p:pic>
      <p:grpSp>
        <p:nvGrpSpPr>
          <p:cNvPr id="80" name="Google Shape;80;p8"/>
          <p:cNvGrpSpPr/>
          <p:nvPr/>
        </p:nvGrpSpPr>
        <p:grpSpPr>
          <a:xfrm>
            <a:off x="0" y="6487887"/>
            <a:ext cx="10322956" cy="117476"/>
            <a:chOff x="0" y="6494462"/>
            <a:chExt cx="8465128" cy="114156"/>
          </a:xfrm>
        </p:grpSpPr>
        <p:sp>
          <p:nvSpPr>
            <p:cNvPr id="81" name="Google Shape;81;p8"/>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 name="Google Shape;82;p8"/>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3" name="Google Shape;83;p8"/>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pic>
        <p:nvPicPr>
          <p:cNvPr id="84" name="Google Shape;84;p8"/>
          <p:cNvPicPr preferRelativeResize="0"/>
          <p:nvPr/>
        </p:nvPicPr>
        <p:blipFill rotWithShape="1">
          <a:blip r:embed="rId5">
            <a:alphaModFix/>
          </a:blip>
          <a:srcRect/>
          <a:stretch/>
        </p:blipFill>
        <p:spPr>
          <a:xfrm>
            <a:off x="397641" y="210871"/>
            <a:ext cx="1264328" cy="555579"/>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85"/>
        <p:cNvGrpSpPr/>
        <p:nvPr/>
      </p:nvGrpSpPr>
      <p:grpSpPr>
        <a:xfrm>
          <a:off x="0" y="0"/>
          <a:ext cx="0" cy="0"/>
          <a:chOff x="0" y="0"/>
          <a:chExt cx="0" cy="0"/>
        </a:xfrm>
      </p:grpSpPr>
      <p:pic>
        <p:nvPicPr>
          <p:cNvPr id="86" name="Google Shape;86;p9"/>
          <p:cNvPicPr preferRelativeResize="0"/>
          <p:nvPr/>
        </p:nvPicPr>
        <p:blipFill rotWithShape="1">
          <a:blip r:embed="rId2">
            <a:alphaModFix amt="20000"/>
          </a:blip>
          <a:srcRect l="765" t="663" r="3572" b="2907"/>
          <a:stretch/>
        </p:blipFill>
        <p:spPr>
          <a:xfrm>
            <a:off x="0" y="0"/>
            <a:ext cx="12187066" cy="6858000"/>
          </a:xfrm>
          <a:prstGeom prst="rect">
            <a:avLst/>
          </a:prstGeom>
          <a:noFill/>
          <a:ln>
            <a:noFill/>
          </a:ln>
        </p:spPr>
      </p:pic>
      <p:sp>
        <p:nvSpPr>
          <p:cNvPr id="87" name="Google Shape;87;p9"/>
          <p:cNvSpPr/>
          <p:nvPr/>
        </p:nvSpPr>
        <p:spPr>
          <a:xfrm>
            <a:off x="6096000" y="1690687"/>
            <a:ext cx="6096000" cy="4486275"/>
          </a:xfrm>
          <a:prstGeom prst="rect">
            <a:avLst/>
          </a:prstGeom>
          <a:solidFill>
            <a:schemeClr val="dk1"/>
          </a:solidFill>
          <a:ln w="12700" cap="flat" cmpd="sng">
            <a:solidFill>
              <a:srgbClr val="2375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8" name="Google Shape;88;p9"/>
          <p:cNvPicPr preferRelativeResize="0"/>
          <p:nvPr/>
        </p:nvPicPr>
        <p:blipFill rotWithShape="1">
          <a:blip r:embed="rId3">
            <a:alphaModFix amt="5000"/>
          </a:blip>
          <a:srcRect l="4547" t="60185" r="41793" b="9654"/>
          <a:stretch/>
        </p:blipFill>
        <p:spPr>
          <a:xfrm>
            <a:off x="-4934" y="0"/>
            <a:ext cx="12187066" cy="6858000"/>
          </a:xfrm>
          <a:prstGeom prst="rect">
            <a:avLst/>
          </a:prstGeom>
          <a:noFill/>
          <a:ln>
            <a:noFill/>
          </a:ln>
        </p:spPr>
      </p:pic>
      <p:sp>
        <p:nvSpPr>
          <p:cNvPr id="89" name="Google Shape;89;p9"/>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200"/>
              <a:buNone/>
              <a:defRPr sz="22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 name="Google Shape;90;p9"/>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 name="Google Shape;91;p9"/>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lt1"/>
              </a:buClr>
              <a:buSzPts val="2200"/>
              <a:buNone/>
              <a:defRPr sz="2200" b="1">
                <a:solidFill>
                  <a:schemeClr val="lt1"/>
                </a:solidFill>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2" name="Google Shape;92;p9"/>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a:solidFill>
                  <a:schemeClr val="lt1"/>
                </a:solidFill>
              </a:defRPr>
            </a:lvl1pPr>
            <a:lvl2pPr marL="914400" lvl="1" indent="-342900" algn="l">
              <a:lnSpc>
                <a:spcPct val="90000"/>
              </a:lnSpc>
              <a:spcBef>
                <a:spcPts val="500"/>
              </a:spcBef>
              <a:spcAft>
                <a:spcPts val="0"/>
              </a:spcAft>
              <a:buClr>
                <a:schemeClr val="lt1"/>
              </a:buClr>
              <a:buSzPts val="1800"/>
              <a:buChar char="•"/>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93" name="Google Shape;93;p9"/>
          <p:cNvPicPr preferRelativeResize="0"/>
          <p:nvPr/>
        </p:nvPicPr>
        <p:blipFill rotWithShape="1">
          <a:blip r:embed="rId4">
            <a:alphaModFix/>
          </a:blip>
          <a:srcRect/>
          <a:stretch/>
        </p:blipFill>
        <p:spPr>
          <a:xfrm>
            <a:off x="10721636" y="230188"/>
            <a:ext cx="1264328" cy="561924"/>
          </a:xfrm>
          <a:prstGeom prst="rect">
            <a:avLst/>
          </a:prstGeom>
          <a:noFill/>
          <a:ln>
            <a:noFill/>
          </a:ln>
        </p:spPr>
      </p:pic>
      <p:sp>
        <p:nvSpPr>
          <p:cNvPr id="94" name="Google Shape;94;p9"/>
          <p:cNvSpPr txBox="1">
            <a:spLocks noGrp="1"/>
          </p:cNvSpPr>
          <p:nvPr>
            <p:ph type="title"/>
          </p:nvPr>
        </p:nvSpPr>
        <p:spPr>
          <a:xfrm>
            <a:off x="1836594" y="365125"/>
            <a:ext cx="8809733"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95" name="Google Shape;95;p9"/>
          <p:cNvGrpSpPr/>
          <p:nvPr/>
        </p:nvGrpSpPr>
        <p:grpSpPr>
          <a:xfrm>
            <a:off x="0" y="6487887"/>
            <a:ext cx="10322956" cy="117476"/>
            <a:chOff x="0" y="6494462"/>
            <a:chExt cx="8465128" cy="114156"/>
          </a:xfrm>
        </p:grpSpPr>
        <p:sp>
          <p:nvSpPr>
            <p:cNvPr id="96" name="Google Shape;96;p9"/>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 name="Google Shape;97;p9"/>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8" name="Google Shape;98;p9"/>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pic>
        <p:nvPicPr>
          <p:cNvPr id="99" name="Google Shape;99;p9"/>
          <p:cNvPicPr preferRelativeResize="0"/>
          <p:nvPr/>
        </p:nvPicPr>
        <p:blipFill rotWithShape="1">
          <a:blip r:embed="rId5">
            <a:alphaModFix/>
          </a:blip>
          <a:srcRect/>
          <a:stretch/>
        </p:blipFill>
        <p:spPr>
          <a:xfrm>
            <a:off x="397641" y="210871"/>
            <a:ext cx="1264328" cy="555579"/>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0"/>
        <p:cNvGrpSpPr/>
        <p:nvPr/>
      </p:nvGrpSpPr>
      <p:grpSpPr>
        <a:xfrm>
          <a:off x="0" y="0"/>
          <a:ext cx="0" cy="0"/>
          <a:chOff x="0" y="0"/>
          <a:chExt cx="0" cy="0"/>
        </a:xfrm>
      </p:grpSpPr>
      <p:pic>
        <p:nvPicPr>
          <p:cNvPr id="101" name="Google Shape;101;p10"/>
          <p:cNvPicPr preferRelativeResize="0"/>
          <p:nvPr/>
        </p:nvPicPr>
        <p:blipFill rotWithShape="1">
          <a:blip r:embed="rId2">
            <a:alphaModFix amt="35000"/>
          </a:blip>
          <a:srcRect l="4547" t="60185" r="41793" b="9654"/>
          <a:stretch/>
        </p:blipFill>
        <p:spPr>
          <a:xfrm>
            <a:off x="33179" y="0"/>
            <a:ext cx="12187066" cy="6858000"/>
          </a:xfrm>
          <a:prstGeom prst="rect">
            <a:avLst/>
          </a:prstGeom>
          <a:noFill/>
          <a:ln>
            <a:noFill/>
          </a:ln>
        </p:spPr>
      </p:pic>
      <p:pic>
        <p:nvPicPr>
          <p:cNvPr id="102" name="Google Shape;102;p10"/>
          <p:cNvPicPr preferRelativeResize="0"/>
          <p:nvPr/>
        </p:nvPicPr>
        <p:blipFill rotWithShape="1">
          <a:blip r:embed="rId3">
            <a:alphaModFix amt="20000"/>
          </a:blip>
          <a:srcRect l="765" t="663" r="3572" b="2907"/>
          <a:stretch/>
        </p:blipFill>
        <p:spPr>
          <a:xfrm>
            <a:off x="0" y="0"/>
            <a:ext cx="12187066" cy="6858000"/>
          </a:xfrm>
          <a:prstGeom prst="rect">
            <a:avLst/>
          </a:prstGeom>
          <a:noFill/>
          <a:ln>
            <a:noFill/>
          </a:ln>
        </p:spPr>
      </p:pic>
      <p:grpSp>
        <p:nvGrpSpPr>
          <p:cNvPr id="103" name="Google Shape;103;p10"/>
          <p:cNvGrpSpPr/>
          <p:nvPr/>
        </p:nvGrpSpPr>
        <p:grpSpPr>
          <a:xfrm>
            <a:off x="0" y="6487887"/>
            <a:ext cx="10322956" cy="117476"/>
            <a:chOff x="0" y="6494462"/>
            <a:chExt cx="8465128" cy="114156"/>
          </a:xfrm>
        </p:grpSpPr>
        <p:sp>
          <p:nvSpPr>
            <p:cNvPr id="104" name="Google Shape;104;p10"/>
            <p:cNvSpPr/>
            <p:nvPr/>
          </p:nvSpPr>
          <p:spPr>
            <a:xfrm>
              <a:off x="0" y="6494462"/>
              <a:ext cx="5860473" cy="114156"/>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5" name="Google Shape;105;p10"/>
            <p:cNvSpPr/>
            <p:nvPr/>
          </p:nvSpPr>
          <p:spPr>
            <a:xfrm>
              <a:off x="2604655" y="6494462"/>
              <a:ext cx="5860473" cy="114156"/>
            </a:xfrm>
            <a:prstGeom prst="rect">
              <a:avLst/>
            </a:prstGeom>
            <a:solidFill>
              <a:srgbClr val="003C8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6" name="Google Shape;106;p10"/>
          <p:cNvSpPr txBox="1"/>
          <p:nvPr/>
        </p:nvSpPr>
        <p:spPr>
          <a:xfrm>
            <a:off x="10356135" y="6369586"/>
            <a:ext cx="239017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itjen.kemenkeu.go.id</a:t>
            </a:r>
            <a:endParaRPr sz="1400">
              <a:solidFill>
                <a:schemeClr val="dk1"/>
              </a:solidFill>
              <a:latin typeface="Calibri"/>
              <a:ea typeface="Calibri"/>
              <a:cs typeface="Calibri"/>
              <a:sym typeface="Calibri"/>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dk1"/>
              </a:buClr>
              <a:buSzPts val="3000"/>
              <a:buFont typeface="Roboto"/>
              <a:buNone/>
              <a:defRPr sz="3000" b="1" i="0" u="none" strike="noStrike" cap="none">
                <a:solidFill>
                  <a:schemeClr val="dk1"/>
                </a:solidFill>
                <a:latin typeface="Roboto"/>
                <a:ea typeface="Roboto"/>
                <a:cs typeface="Roboto"/>
                <a:sym typeface="Robot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90000"/>
              </a:lnSpc>
              <a:spcBef>
                <a:spcPts val="10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D9E"/>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77" r:id="rId14"/>
    <p:sldLayoutId id="2147483678" r:id="rId15"/>
    <p:sldLayoutId id="2147483679" r:id="rId16"/>
    <p:sldLayoutId id="2147483680" r:id="rId17"/>
    <p:sldLayoutId id="2147483681" r:id="rId18"/>
    <p:sldLayoutId id="2147483682" r:id="rId19"/>
    <p:sldLayoutId id="2147483683"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5.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4.png"/><Relationship Id="rId2" Type="http://schemas.openxmlformats.org/officeDocument/2006/relationships/image" Target="../media/image45.jpeg"/><Relationship Id="rId1" Type="http://schemas.openxmlformats.org/officeDocument/2006/relationships/slideLayout" Target="../slideLayouts/slideLayout16.xml"/><Relationship Id="rId6" Type="http://schemas.openxmlformats.org/officeDocument/2006/relationships/image" Target="../media/image49.png"/><Relationship Id="rId11" Type="http://schemas.openxmlformats.org/officeDocument/2006/relationships/image" Target="../media/image53.png"/><Relationship Id="rId5" Type="http://schemas.openxmlformats.org/officeDocument/2006/relationships/image" Target="../media/image48.png"/><Relationship Id="rId15" Type="http://schemas.openxmlformats.org/officeDocument/2006/relationships/image" Target="../media/image57.jpeg"/><Relationship Id="rId10" Type="http://schemas.microsoft.com/office/2007/relationships/hdphoto" Target="../media/hdphoto9.wdp"/><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60.png"/><Relationship Id="rId5" Type="http://schemas.microsoft.com/office/2007/relationships/hdphoto" Target="../media/hdphoto10.wdp"/><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xml"/><Relationship Id="rId5" Type="http://schemas.openxmlformats.org/officeDocument/2006/relationships/image" Target="../media/image64.png"/><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microsoft.com/office/2007/relationships/hdphoto" Target="../media/hdphoto13.wdp"/><Relationship Id="rId3" Type="http://schemas.microsoft.com/office/2007/relationships/hdphoto" Target="../media/hdphoto11.wdp"/><Relationship Id="rId7" Type="http://schemas.openxmlformats.org/officeDocument/2006/relationships/image" Target="../media/image68.png"/><Relationship Id="rId2" Type="http://schemas.openxmlformats.org/officeDocument/2006/relationships/image" Target="../media/image66.png"/><Relationship Id="rId1" Type="http://schemas.openxmlformats.org/officeDocument/2006/relationships/slideLayout" Target="../slideLayouts/slideLayout2.xml"/><Relationship Id="rId6" Type="http://schemas.microsoft.com/office/2007/relationships/hdphoto" Target="../media/hdphoto12.wdp"/><Relationship Id="rId5" Type="http://schemas.openxmlformats.org/officeDocument/2006/relationships/image" Target="../media/image67.png"/><Relationship Id="rId10" Type="http://schemas.microsoft.com/office/2007/relationships/hdphoto" Target="../media/hdphoto14.wdp"/><Relationship Id="rId4" Type="http://schemas.openxmlformats.org/officeDocument/2006/relationships/hyperlink" Target="https://www.vecteezy.com/vector-art/655016-executive-men-cartoon" TargetMode="External"/><Relationship Id="rId9" Type="http://schemas.openxmlformats.org/officeDocument/2006/relationships/image" Target="../media/image69.png"/></Relationships>
</file>

<file path=ppt/slides/_rels/slide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2" Type="http://schemas.openxmlformats.org/officeDocument/2006/relationships/image" Target="../media/image71.tmp"/><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72.jpe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2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xml"/><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jpeg"/><Relationship Id="rId4" Type="http://schemas.openxmlformats.org/officeDocument/2006/relationships/image" Target="../media/image91.png"/></Relationships>
</file>

<file path=ppt/slides/_rels/slide36.xml.rels><?xml version="1.0" encoding="UTF-8" standalone="yes"?>
<Relationships xmlns="http://schemas.openxmlformats.org/package/2006/relationships"><Relationship Id="rId8" Type="http://schemas.openxmlformats.org/officeDocument/2006/relationships/image" Target="../media/image101.png"/><Relationship Id="rId13" Type="http://schemas.microsoft.com/office/2007/relationships/hdphoto" Target="../media/hdphoto16.wdp"/><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4.png"/><Relationship Id="rId2" Type="http://schemas.openxmlformats.org/officeDocument/2006/relationships/image" Target="../media/image95.png"/><Relationship Id="rId1" Type="http://schemas.openxmlformats.org/officeDocument/2006/relationships/slideLayout" Target="../slideLayouts/slideLayout2.xml"/><Relationship Id="rId6" Type="http://schemas.openxmlformats.org/officeDocument/2006/relationships/image" Target="../media/image99.svg"/><Relationship Id="rId11" Type="http://schemas.openxmlformats.org/officeDocument/2006/relationships/image" Target="../media/image103.jpeg"/><Relationship Id="rId5" Type="http://schemas.openxmlformats.org/officeDocument/2006/relationships/image" Target="../media/image98.png"/><Relationship Id="rId10" Type="http://schemas.microsoft.com/office/2007/relationships/hdphoto" Target="../media/hdphoto15.wdp"/><Relationship Id="rId4" Type="http://schemas.openxmlformats.org/officeDocument/2006/relationships/image" Target="../media/image97.png"/><Relationship Id="rId9" Type="http://schemas.openxmlformats.org/officeDocument/2006/relationships/image" Target="../media/image102.png"/></Relationships>
</file>

<file path=ppt/slides/_rels/slide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28.png"/><Relationship Id="rId26" Type="http://schemas.microsoft.com/office/2007/relationships/hdphoto" Target="../media/hdphoto7.wdp"/><Relationship Id="rId3" Type="http://schemas.openxmlformats.org/officeDocument/2006/relationships/image" Target="../media/image16.jpg"/><Relationship Id="rId21" Type="http://schemas.openxmlformats.org/officeDocument/2006/relationships/image" Target="../media/image30.png"/><Relationship Id="rId7" Type="http://schemas.openxmlformats.org/officeDocument/2006/relationships/image" Target="../media/image20.png"/><Relationship Id="rId12" Type="http://schemas.openxmlformats.org/officeDocument/2006/relationships/image" Target="../media/image23.png"/><Relationship Id="rId17" Type="http://schemas.openxmlformats.org/officeDocument/2006/relationships/image" Target="../media/image27.png"/><Relationship Id="rId25" Type="http://schemas.openxmlformats.org/officeDocument/2006/relationships/image" Target="../media/image33.png"/><Relationship Id="rId2" Type="http://schemas.openxmlformats.org/officeDocument/2006/relationships/image" Target="../media/image15.jpeg"/><Relationship Id="rId16" Type="http://schemas.openxmlformats.org/officeDocument/2006/relationships/image" Target="../media/image26.svg"/><Relationship Id="rId20" Type="http://schemas.microsoft.com/office/2007/relationships/hdphoto" Target="../media/hdphoto5.wdp"/><Relationship Id="rId1" Type="http://schemas.openxmlformats.org/officeDocument/2006/relationships/slideLayout" Target="../slideLayouts/slideLayout11.xml"/><Relationship Id="rId6" Type="http://schemas.openxmlformats.org/officeDocument/2006/relationships/image" Target="../media/image19.jpeg"/><Relationship Id="rId11" Type="http://schemas.openxmlformats.org/officeDocument/2006/relationships/image" Target="../media/image22.jpeg"/><Relationship Id="rId24" Type="http://schemas.openxmlformats.org/officeDocument/2006/relationships/image" Target="../media/image32.png"/><Relationship Id="rId5" Type="http://schemas.openxmlformats.org/officeDocument/2006/relationships/image" Target="../media/image18.jpeg"/><Relationship Id="rId15" Type="http://schemas.openxmlformats.org/officeDocument/2006/relationships/image" Target="../media/image25.png"/><Relationship Id="rId23" Type="http://schemas.openxmlformats.org/officeDocument/2006/relationships/image" Target="../media/image31.png"/><Relationship Id="rId28" Type="http://schemas.openxmlformats.org/officeDocument/2006/relationships/image" Target="../media/image35.png"/><Relationship Id="rId10" Type="http://schemas.microsoft.com/office/2007/relationships/hdphoto" Target="../media/hdphoto3.wdp"/><Relationship Id="rId19" Type="http://schemas.openxmlformats.org/officeDocument/2006/relationships/image" Target="../media/image29.png"/><Relationship Id="rId4" Type="http://schemas.openxmlformats.org/officeDocument/2006/relationships/image" Target="../media/image17.jpeg"/><Relationship Id="rId9" Type="http://schemas.openxmlformats.org/officeDocument/2006/relationships/image" Target="../media/image21.png"/><Relationship Id="rId14" Type="http://schemas.openxmlformats.org/officeDocument/2006/relationships/image" Target="../media/image24.png"/><Relationship Id="rId22" Type="http://schemas.microsoft.com/office/2007/relationships/hdphoto" Target="../media/hdphoto6.wdp"/><Relationship Id="rId27" Type="http://schemas.openxmlformats.org/officeDocument/2006/relationships/image" Target="../media/image34.jpeg"/></Relationships>
</file>

<file path=ppt/slides/_rels/slide4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110.jp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xml"/><Relationship Id="rId6" Type="http://schemas.openxmlformats.org/officeDocument/2006/relationships/image" Target="../media/image116.png"/><Relationship Id="rId5" Type="http://schemas.openxmlformats.org/officeDocument/2006/relationships/image" Target="../media/image115.jpeg"/><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2.xml"/><Relationship Id="rId4" Type="http://schemas.openxmlformats.org/officeDocument/2006/relationships/image" Target="../media/image119.png"/></Relationships>
</file>

<file path=ppt/slides/_rels/slide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image" Target="../media/image120.tmp"/><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23.png"/><Relationship Id="rId4" Type="http://schemas.openxmlformats.org/officeDocument/2006/relationships/image" Target="../media/image122.png"/></Relationships>
</file>

<file path=ppt/slides/_rels/slide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video" Target="../media/media1.mp4"/><Relationship Id="rId7" Type="http://schemas.openxmlformats.org/officeDocument/2006/relationships/image" Target="../media/image13.emf"/><Relationship Id="rId2" Type="http://schemas.microsoft.com/office/2007/relationships/media" Target="../media/media1.mp4"/><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image" Target="../media/image38.png"/><Relationship Id="rId5" Type="http://schemas.openxmlformats.org/officeDocument/2006/relationships/image" Target="../media/image13.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9.xml"/><Relationship Id="rId4" Type="http://schemas.openxmlformats.org/officeDocument/2006/relationships/image" Target="../media/image42.tif"/></Relationships>
</file>

<file path=ppt/slides/_rels/slide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31"/>
          <p:cNvSpPr txBox="1">
            <a:spLocks noGrp="1"/>
          </p:cNvSpPr>
          <p:nvPr>
            <p:ph type="ctrTitle"/>
          </p:nvPr>
        </p:nvSpPr>
        <p:spPr>
          <a:xfrm>
            <a:off x="913165" y="1273072"/>
            <a:ext cx="10365670" cy="2618444"/>
          </a:xfrm>
          <a:prstGeom prst="rect">
            <a:avLst/>
          </a:prstGeom>
          <a:noFill/>
          <a:ln>
            <a:noFill/>
          </a:ln>
        </p:spPr>
        <p:txBody>
          <a:bodyPr spcFirstLastPara="1" wrap="square" lIns="91425" tIns="45700" rIns="91425" bIns="45700" anchor="b" anchorCtr="0">
            <a:normAutofit/>
          </a:bodyPr>
          <a:lstStyle/>
          <a:p>
            <a:pPr lvl="0">
              <a:buSzPct val="100000"/>
            </a:pPr>
            <a:r>
              <a:rPr lang="en-US" dirty="0">
                <a:solidFill>
                  <a:srgbClr val="FBB040"/>
                </a:solidFill>
              </a:rPr>
              <a:t>Data Analytics </a:t>
            </a:r>
            <a:r>
              <a:rPr lang="en-US" dirty="0" err="1">
                <a:solidFill>
                  <a:srgbClr val="FBB040"/>
                </a:solidFill>
              </a:rPr>
              <a:t>Dalam</a:t>
            </a:r>
            <a:r>
              <a:rPr lang="en-US" dirty="0">
                <a:solidFill>
                  <a:srgbClr val="FBB040"/>
                </a:solidFill>
              </a:rPr>
              <a:t> </a:t>
            </a:r>
            <a:r>
              <a:rPr lang="en-US" dirty="0" err="1">
                <a:solidFill>
                  <a:srgbClr val="FBB040"/>
                </a:solidFill>
              </a:rPr>
              <a:t>Pengawasan</a:t>
            </a:r>
            <a:br>
              <a:rPr lang="en-US" sz="4400" dirty="0">
                <a:solidFill>
                  <a:srgbClr val="FBB040"/>
                </a:solidFill>
              </a:rPr>
            </a:br>
            <a:r>
              <a:rPr lang="en-US" sz="2700" dirty="0" err="1">
                <a:solidFill>
                  <a:srgbClr val="FBB040"/>
                </a:solidFill>
              </a:rPr>
              <a:t>Inspektorat</a:t>
            </a:r>
            <a:r>
              <a:rPr lang="en-US" sz="2700" dirty="0">
                <a:solidFill>
                  <a:srgbClr val="FBB040"/>
                </a:solidFill>
              </a:rPr>
              <a:t> </a:t>
            </a:r>
            <a:r>
              <a:rPr lang="en-US" sz="2700" dirty="0" err="1">
                <a:solidFill>
                  <a:srgbClr val="FBB040"/>
                </a:solidFill>
              </a:rPr>
              <a:t>Jenderal</a:t>
            </a:r>
            <a:r>
              <a:rPr lang="en-US" sz="2700" dirty="0">
                <a:solidFill>
                  <a:srgbClr val="FBB040"/>
                </a:solidFill>
              </a:rPr>
              <a:t> Kementerian </a:t>
            </a:r>
            <a:r>
              <a:rPr lang="en-US" sz="2700" dirty="0" err="1">
                <a:solidFill>
                  <a:srgbClr val="FBB040"/>
                </a:solidFill>
              </a:rPr>
              <a:t>Keuangan</a:t>
            </a:r>
            <a:endParaRPr lang="en-US" sz="2700" dirty="0">
              <a:solidFill>
                <a:srgbClr val="FBB040"/>
              </a:solidFill>
            </a:endParaRPr>
          </a:p>
        </p:txBody>
      </p:sp>
      <p:sp>
        <p:nvSpPr>
          <p:cNvPr id="310" name="Google Shape;310;p31"/>
          <p:cNvSpPr txBox="1">
            <a:spLocks noGrp="1"/>
          </p:cNvSpPr>
          <p:nvPr>
            <p:ph type="subTitle" idx="1"/>
          </p:nvPr>
        </p:nvSpPr>
        <p:spPr>
          <a:xfrm>
            <a:off x="1524000" y="4875992"/>
            <a:ext cx="9144000" cy="861474"/>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2000"/>
              <a:buNone/>
            </a:pPr>
            <a:r>
              <a:rPr lang="en-US" sz="2000" dirty="0" err="1">
                <a:solidFill>
                  <a:schemeClr val="lt1"/>
                </a:solidFill>
              </a:rPr>
              <a:t>Senin</a:t>
            </a:r>
            <a:r>
              <a:rPr lang="en-US" sz="2000" dirty="0">
                <a:solidFill>
                  <a:schemeClr val="lt1"/>
                </a:solidFill>
              </a:rPr>
              <a:t>, 3 </a:t>
            </a:r>
            <a:r>
              <a:rPr lang="en-US" sz="2000" dirty="0" err="1">
                <a:solidFill>
                  <a:schemeClr val="lt1"/>
                </a:solidFill>
              </a:rPr>
              <a:t>Juli</a:t>
            </a:r>
            <a:r>
              <a:rPr lang="en-US" sz="2000" dirty="0">
                <a:solidFill>
                  <a:schemeClr val="lt1"/>
                </a:solidFill>
              </a:rPr>
              <a:t> 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013A066-7D05-CC13-D5A8-17E67D20C0CC}"/>
              </a:ext>
            </a:extLst>
          </p:cNvPr>
          <p:cNvPicPr>
            <a:picLocks noChangeAspect="1"/>
          </p:cNvPicPr>
          <p:nvPr/>
        </p:nvPicPr>
        <p:blipFill rotWithShape="1">
          <a:blip r:embed="rId2">
            <a:extLst>
              <a:ext uri="{28A0092B-C50C-407E-A947-70E740481C1C}">
                <a14:useLocalDpi xmlns:a14="http://schemas.microsoft.com/office/drawing/2010/main" val="0"/>
              </a:ext>
            </a:extLst>
          </a:blip>
          <a:srcRect l="19426" r="24265"/>
          <a:stretch/>
        </p:blipFill>
        <p:spPr>
          <a:xfrm>
            <a:off x="0" y="-1"/>
            <a:ext cx="5775082" cy="6837477"/>
          </a:xfrm>
          <a:prstGeom prst="rect">
            <a:avLst/>
          </a:prstGeom>
        </p:spPr>
      </p:pic>
      <p:sp>
        <p:nvSpPr>
          <p:cNvPr id="4" name="Rectangle 3">
            <a:extLst>
              <a:ext uri="{FF2B5EF4-FFF2-40B4-BE49-F238E27FC236}">
                <a16:creationId xmlns:a16="http://schemas.microsoft.com/office/drawing/2014/main" id="{3783DC1A-44C8-3AEE-7633-9CCC8CB50494}"/>
              </a:ext>
            </a:extLst>
          </p:cNvPr>
          <p:cNvSpPr/>
          <p:nvPr/>
        </p:nvSpPr>
        <p:spPr>
          <a:xfrm>
            <a:off x="0" y="-1"/>
            <a:ext cx="5775082" cy="6858001"/>
          </a:xfrm>
          <a:prstGeom prst="rect">
            <a:avLst/>
          </a:prstGeom>
          <a:solidFill>
            <a:srgbClr val="FFFFFF">
              <a:alpha val="87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447" name="Shape"/>
          <p:cNvSpPr/>
          <p:nvPr/>
        </p:nvSpPr>
        <p:spPr>
          <a:xfrm>
            <a:off x="11557000" y="0"/>
            <a:ext cx="635000"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000"/>
                </a:lnTo>
                <a:lnTo>
                  <a:pt x="0" y="21600"/>
                </a:lnTo>
                <a:lnTo>
                  <a:pt x="432" y="21600"/>
                </a:lnTo>
                <a:lnTo>
                  <a:pt x="432" y="2000"/>
                </a:lnTo>
                <a:lnTo>
                  <a:pt x="21600" y="2000"/>
                </a:lnTo>
                <a:lnTo>
                  <a:pt x="21600" y="0"/>
                </a:lnTo>
                <a:lnTo>
                  <a:pt x="432" y="0"/>
                </a:lnTo>
                <a:lnTo>
                  <a:pt x="0" y="0"/>
                </a:lnTo>
                <a:close/>
              </a:path>
            </a:pathLst>
          </a:custGeom>
          <a:solidFill>
            <a:srgbClr val="FFFFFF"/>
          </a:solidFill>
          <a:ln w="12700">
            <a:miter lim="400000"/>
          </a:ln>
        </p:spPr>
        <p:txBody>
          <a:bodyPr lIns="0" tIns="0" rIns="0" bIns="0" anchor="ctr"/>
          <a:lstStyle/>
          <a:p>
            <a:pPr algn="ctr" defTabSz="412750" hangingPunct="0">
              <a:defRPr sz="3200" cap="none" spc="0">
                <a:solidFill>
                  <a:srgbClr val="FFFFFF"/>
                </a:solidFill>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sp>
        <p:nvSpPr>
          <p:cNvPr id="1448" name="Rectangle"/>
          <p:cNvSpPr/>
          <p:nvPr/>
        </p:nvSpPr>
        <p:spPr>
          <a:xfrm>
            <a:off x="5778500" y="-1"/>
            <a:ext cx="5778500" cy="6858001"/>
          </a:xfrm>
          <a:prstGeom prst="rect">
            <a:avLst/>
          </a:prstGeom>
          <a:solidFill>
            <a:srgbClr val="DAAA4B"/>
          </a:solidFill>
          <a:ln w="12700">
            <a:miter lim="400000"/>
          </a:ln>
        </p:spPr>
        <p:txBody>
          <a:bodyPr lIns="0" tIns="0" rIns="0" bIns="0" anchor="ctr"/>
          <a:lstStyle/>
          <a:p>
            <a:pPr algn="ctr" defTabSz="412750" hangingPunct="0">
              <a:defRPr sz="3200" cap="none" spc="0">
                <a:solidFill>
                  <a:srgbClr val="FFFFFF"/>
                </a:solidFill>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sp>
        <p:nvSpPr>
          <p:cNvPr id="1449" name="Slide Number"/>
          <p:cNvSpPr txBox="1">
            <a:spLocks noGrp="1"/>
          </p:cNvSpPr>
          <p:nvPr>
            <p:ph type="sldNum" sz="quarter" idx="2"/>
          </p:nvPr>
        </p:nvSpPr>
        <p:spPr>
          <a:xfrm>
            <a:off x="11702978" y="150788"/>
            <a:ext cx="478532" cy="406773"/>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defTabSz="412750" hangingPunct="0"/>
            <a:fld id="{86CB4B4D-7CA3-9044-876B-883B54F8677D}" type="slidenum">
              <a:rPr kern="0">
                <a:solidFill>
                  <a:srgbClr val="000000"/>
                </a:solidFill>
                <a:latin typeface="Montserrat Bold"/>
                <a:sym typeface="Montserrat Bold"/>
              </a:rPr>
              <a:pPr defTabSz="412750" hangingPunct="0"/>
              <a:t>10</a:t>
            </a:fld>
            <a:endParaRPr kern="0" dirty="0">
              <a:solidFill>
                <a:srgbClr val="000000"/>
              </a:solidFill>
              <a:latin typeface="Montserrat Bold"/>
              <a:sym typeface="Montserrat Bold"/>
            </a:endParaRPr>
          </a:p>
        </p:txBody>
      </p:sp>
      <p:sp>
        <p:nvSpPr>
          <p:cNvPr id="1452" name="Jane “Reader”…"/>
          <p:cNvSpPr txBox="1"/>
          <p:nvPr/>
        </p:nvSpPr>
        <p:spPr>
          <a:xfrm>
            <a:off x="6437960" y="1065995"/>
            <a:ext cx="4494530" cy="15286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pPr defTabSz="412750" hangingPunct="0">
              <a:lnSpc>
                <a:spcPct val="80000"/>
              </a:lnSpc>
              <a:defRPr sz="10000" cap="none" spc="0">
                <a:solidFill>
                  <a:srgbClr val="FFFFFF"/>
                </a:solidFill>
                <a:latin typeface="+mn-lt"/>
                <a:ea typeface="+mn-ea"/>
                <a:cs typeface="+mn-cs"/>
                <a:sym typeface="Montserrat SemiBold"/>
              </a:defRPr>
            </a:pPr>
            <a:r>
              <a:rPr lang="en-US" sz="6000" dirty="0" err="1">
                <a:ln w="0"/>
                <a:solidFill>
                  <a:schemeClr val="tx1"/>
                </a:solidFill>
                <a:effectLst>
                  <a:outerShdw blurRad="38100" dist="19050" dir="2700000" algn="tl" rotWithShape="0">
                    <a:schemeClr val="dk1">
                      <a:alpha val="40000"/>
                    </a:schemeClr>
                  </a:outerShdw>
                </a:effectLst>
              </a:rPr>
              <a:t>Digitalisasi</a:t>
            </a:r>
            <a:r>
              <a:rPr lang="en-US" sz="6000" dirty="0">
                <a:ln w="0"/>
                <a:solidFill>
                  <a:schemeClr val="tx1"/>
                </a:solidFill>
                <a:effectLst>
                  <a:outerShdw blurRad="38100" dist="19050" dir="2700000" algn="tl" rotWithShape="0">
                    <a:schemeClr val="dk1">
                      <a:alpha val="40000"/>
                    </a:schemeClr>
                  </a:outerShdw>
                </a:effectLst>
              </a:rPr>
              <a:t> </a:t>
            </a:r>
            <a:r>
              <a:rPr lang="en-US" sz="6000" dirty="0" err="1">
                <a:ln w="0"/>
                <a:solidFill>
                  <a:schemeClr val="tx1"/>
                </a:solidFill>
                <a:effectLst>
                  <a:outerShdw blurRad="38100" dist="19050" dir="2700000" algn="tl" rotWithShape="0">
                    <a:schemeClr val="dk1">
                      <a:alpha val="40000"/>
                    </a:schemeClr>
                  </a:outerShdw>
                </a:effectLst>
              </a:rPr>
              <a:t>Kemenkeu</a:t>
            </a:r>
            <a:endParaRPr sz="16600" kern="0" dirty="0">
              <a:ln w="0"/>
              <a:solidFill>
                <a:schemeClr val="tx1"/>
              </a:solidFill>
              <a:effectLst>
                <a:outerShdw blurRad="38100" dist="19050" dir="2700000" algn="tl" rotWithShape="0">
                  <a:schemeClr val="dk1">
                    <a:alpha val="40000"/>
                  </a:schemeClr>
                </a:outerShdw>
              </a:effectLst>
              <a:latin typeface="Montserrat SemiBold"/>
              <a:sym typeface="Montserrat SemiBold"/>
            </a:endParaRPr>
          </a:p>
        </p:txBody>
      </p:sp>
      <p:sp>
        <p:nvSpPr>
          <p:cNvPr id="1456" name="January 2018"/>
          <p:cNvSpPr txBox="1"/>
          <p:nvPr/>
        </p:nvSpPr>
        <p:spPr>
          <a:xfrm>
            <a:off x="6491495" y="2850020"/>
            <a:ext cx="2222501" cy="5278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nSpc>
                <a:spcPct val="120000"/>
              </a:lnSpc>
              <a:defRPr sz="3500" cap="none" spc="104">
                <a:solidFill>
                  <a:srgbClr val="FFFFFF"/>
                </a:solidFill>
              </a:defRPr>
            </a:lvl1pPr>
          </a:lstStyle>
          <a:p>
            <a:pPr defTabSz="412750" hangingPunct="0"/>
            <a:r>
              <a:rPr lang="en-US" sz="2800" kern="0" spc="52" dirty="0">
                <a:effectLst>
                  <a:outerShdw blurRad="50800" dist="38100" dir="2700000" algn="tl" rotWithShape="0">
                    <a:prstClr val="black">
                      <a:alpha val="40000"/>
                    </a:prstClr>
                  </a:outerShdw>
                </a:effectLst>
                <a:latin typeface="Montserrat Bold"/>
                <a:sym typeface="Montserrat Bold"/>
              </a:rPr>
              <a:t>Key Points: </a:t>
            </a:r>
            <a:endParaRPr sz="2800" kern="0" spc="52" dirty="0">
              <a:effectLst>
                <a:outerShdw blurRad="50800" dist="38100" dir="2700000" algn="tl" rotWithShape="0">
                  <a:prstClr val="black">
                    <a:alpha val="40000"/>
                  </a:prstClr>
                </a:outerShdw>
              </a:effectLst>
              <a:latin typeface="Montserrat Bold"/>
              <a:sym typeface="Montserrat Bold"/>
            </a:endParaRPr>
          </a:p>
        </p:txBody>
      </p:sp>
      <p:sp>
        <p:nvSpPr>
          <p:cNvPr id="1457" name="Insert title here"/>
          <p:cNvSpPr txBox="1"/>
          <p:nvPr/>
        </p:nvSpPr>
        <p:spPr>
          <a:xfrm>
            <a:off x="6492655" y="3456201"/>
            <a:ext cx="4653408" cy="2663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just">
              <a:lnSpc>
                <a:spcPct val="120000"/>
              </a:lnSpc>
              <a:defRPr sz="2500" i="1" cap="none" spc="75">
                <a:solidFill>
                  <a:srgbClr val="FFFFFF"/>
                </a:solidFill>
                <a:latin typeface="Raleway"/>
                <a:ea typeface="Raleway"/>
                <a:cs typeface="Raleway"/>
                <a:sym typeface="Raleway"/>
              </a:defRPr>
            </a:lvl1pPr>
          </a:lstStyle>
          <a:p>
            <a:pPr marL="342900" indent="-342900" defTabSz="412750" hangingPunct="0">
              <a:buAutoNum type="arabicPeriod"/>
            </a:pPr>
            <a:r>
              <a:rPr lang="en-US" sz="2400" i="0" kern="0" spc="38" dirty="0" err="1">
                <a:solidFill>
                  <a:schemeClr val="bg1">
                    <a:lumMod val="10000"/>
                  </a:schemeClr>
                </a:solidFill>
                <a:latin typeface="Bahnschrift" panose="020B0502040204020203" pitchFamily="34" charset="0"/>
              </a:rPr>
              <a:t>Standardisasi</a:t>
            </a:r>
            <a:r>
              <a:rPr lang="en-US" sz="2400" i="0" kern="0" spc="38" dirty="0">
                <a:solidFill>
                  <a:schemeClr val="bg1">
                    <a:lumMod val="10000"/>
                  </a:schemeClr>
                </a:solidFill>
                <a:latin typeface="Bahnschrift" panose="020B0502040204020203" pitchFamily="34" charset="0"/>
              </a:rPr>
              <a:t>;</a:t>
            </a:r>
          </a:p>
          <a:p>
            <a:pPr marL="342900" indent="-342900" defTabSz="412750" hangingPunct="0">
              <a:buAutoNum type="arabicPeriod"/>
            </a:pPr>
            <a:r>
              <a:rPr lang="en-US" sz="2400" i="0" kern="0" spc="38" dirty="0" err="1">
                <a:solidFill>
                  <a:schemeClr val="bg1">
                    <a:lumMod val="10000"/>
                  </a:schemeClr>
                </a:solidFill>
                <a:latin typeface="Bahnschrift" panose="020B0502040204020203" pitchFamily="34" charset="0"/>
              </a:rPr>
              <a:t>Simplifikasi</a:t>
            </a:r>
            <a:endParaRPr lang="en-US" sz="2400" i="0" kern="0" spc="38" dirty="0">
              <a:solidFill>
                <a:schemeClr val="bg1">
                  <a:lumMod val="10000"/>
                </a:schemeClr>
              </a:solidFill>
              <a:latin typeface="Bahnschrift" panose="020B0502040204020203" pitchFamily="34" charset="0"/>
            </a:endParaRPr>
          </a:p>
          <a:p>
            <a:pPr marL="342900" indent="-342900" defTabSz="412750" hangingPunct="0">
              <a:buAutoNum type="arabicPeriod"/>
            </a:pPr>
            <a:r>
              <a:rPr lang="en-US" sz="2400" i="0" kern="0" spc="38" dirty="0" err="1">
                <a:solidFill>
                  <a:schemeClr val="bg1">
                    <a:lumMod val="10000"/>
                  </a:schemeClr>
                </a:solidFill>
                <a:latin typeface="Bahnschrift" panose="020B0502040204020203" pitchFamily="34" charset="0"/>
              </a:rPr>
              <a:t>Harmonisasi</a:t>
            </a:r>
            <a:r>
              <a:rPr lang="en-US" sz="2400" i="0" kern="0" spc="38" dirty="0">
                <a:solidFill>
                  <a:schemeClr val="bg1">
                    <a:lumMod val="10000"/>
                  </a:schemeClr>
                </a:solidFill>
                <a:latin typeface="Bahnschrift" panose="020B0502040204020203" pitchFamily="34" charset="0"/>
              </a:rPr>
              <a:t>.</a:t>
            </a:r>
          </a:p>
          <a:p>
            <a:pPr marL="342900" indent="-342900" defTabSz="412750" hangingPunct="0">
              <a:buAutoNum type="arabicPeriod"/>
            </a:pPr>
            <a:r>
              <a:rPr lang="en-US" sz="2400" i="0" kern="0" spc="38" dirty="0" err="1">
                <a:solidFill>
                  <a:schemeClr val="bg1">
                    <a:lumMod val="10000"/>
                  </a:schemeClr>
                </a:solidFill>
                <a:latin typeface="Bahnschrift" panose="020B0502040204020203" pitchFamily="34" charset="0"/>
              </a:rPr>
              <a:t>Otomasi</a:t>
            </a:r>
            <a:r>
              <a:rPr lang="en-US" sz="2400" i="0" kern="0" spc="38" dirty="0">
                <a:solidFill>
                  <a:schemeClr val="bg1">
                    <a:lumMod val="10000"/>
                  </a:schemeClr>
                </a:solidFill>
                <a:latin typeface="Bahnschrift" panose="020B0502040204020203" pitchFamily="34" charset="0"/>
              </a:rPr>
              <a:t>;</a:t>
            </a:r>
          </a:p>
          <a:p>
            <a:pPr marL="342900" indent="-342900" defTabSz="412750" hangingPunct="0">
              <a:buAutoNum type="arabicPeriod"/>
            </a:pPr>
            <a:r>
              <a:rPr lang="en-US" sz="2400" i="0" kern="0" spc="38" dirty="0">
                <a:solidFill>
                  <a:schemeClr val="bg1">
                    <a:lumMod val="10000"/>
                  </a:schemeClr>
                </a:solidFill>
                <a:latin typeface="Bahnschrift" panose="020B0502040204020203" pitchFamily="34" charset="0"/>
              </a:rPr>
              <a:t>Integrasi/Interoperability;</a:t>
            </a:r>
          </a:p>
          <a:p>
            <a:pPr marL="342900" indent="-342900" defTabSz="412750" hangingPunct="0">
              <a:buAutoNum type="arabicPeriod"/>
            </a:pPr>
            <a:r>
              <a:rPr lang="en-US" sz="2400" i="0" kern="0" spc="38" dirty="0">
                <a:solidFill>
                  <a:schemeClr val="bg1">
                    <a:lumMod val="10000"/>
                  </a:schemeClr>
                </a:solidFill>
                <a:latin typeface="Bahnschrift" panose="020B0502040204020203" pitchFamily="34" charset="0"/>
              </a:rPr>
              <a:t>Service Level Agreement.</a:t>
            </a:r>
          </a:p>
        </p:txBody>
      </p:sp>
      <p:grpSp>
        <p:nvGrpSpPr>
          <p:cNvPr id="34" name="Group 33">
            <a:extLst>
              <a:ext uri="{FF2B5EF4-FFF2-40B4-BE49-F238E27FC236}">
                <a16:creationId xmlns:a16="http://schemas.microsoft.com/office/drawing/2014/main" id="{6323FF1B-2CE7-F240-930A-CB34B9F73562}"/>
              </a:ext>
            </a:extLst>
          </p:cNvPr>
          <p:cNvGrpSpPr/>
          <p:nvPr/>
        </p:nvGrpSpPr>
        <p:grpSpPr>
          <a:xfrm>
            <a:off x="653518" y="941835"/>
            <a:ext cx="4766196" cy="5028732"/>
            <a:chOff x="866470" y="1132955"/>
            <a:chExt cx="4766196" cy="5028732"/>
          </a:xfrm>
        </p:grpSpPr>
        <p:pic>
          <p:nvPicPr>
            <p:cNvPr id="35" name="Google Shape;434;p47">
              <a:extLst>
                <a:ext uri="{FF2B5EF4-FFF2-40B4-BE49-F238E27FC236}">
                  <a16:creationId xmlns:a16="http://schemas.microsoft.com/office/drawing/2014/main" id="{FDD2486D-AC96-2920-6713-A64BB6DA69F8}"/>
                </a:ext>
              </a:extLst>
            </p:cNvPr>
            <p:cNvPicPr preferRelativeResize="0"/>
            <p:nvPr/>
          </p:nvPicPr>
          <p:blipFill rotWithShape="1">
            <a:blip r:embed="rId3">
              <a:alphaModFix/>
            </a:blip>
            <a:srcRect/>
            <a:stretch/>
          </p:blipFill>
          <p:spPr>
            <a:xfrm>
              <a:off x="2121370" y="2694049"/>
              <a:ext cx="2086391" cy="2031539"/>
            </a:xfrm>
            <a:prstGeom prst="rect">
              <a:avLst/>
            </a:prstGeom>
            <a:noFill/>
            <a:ln>
              <a:noFill/>
            </a:ln>
          </p:spPr>
        </p:pic>
        <p:pic>
          <p:nvPicPr>
            <p:cNvPr id="36" name="Picture 2" descr="Website Kalurahan JAMBIDAN">
              <a:extLst>
                <a:ext uri="{FF2B5EF4-FFF2-40B4-BE49-F238E27FC236}">
                  <a16:creationId xmlns:a16="http://schemas.microsoft.com/office/drawing/2014/main" id="{F8227E9D-D546-0A8C-3B31-46ABD59C7B5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8077" y="1999576"/>
              <a:ext cx="1647627" cy="57147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CEHRIS G3 - Sign In">
              <a:extLst>
                <a:ext uri="{FF2B5EF4-FFF2-40B4-BE49-F238E27FC236}">
                  <a16:creationId xmlns:a16="http://schemas.microsoft.com/office/drawing/2014/main" id="{A5166E43-00BE-B40A-291B-1F711D9CB2F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21370" y="1132955"/>
              <a:ext cx="1736749" cy="74361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Home">
              <a:extLst>
                <a:ext uri="{FF2B5EF4-FFF2-40B4-BE49-F238E27FC236}">
                  <a16:creationId xmlns:a16="http://schemas.microsoft.com/office/drawing/2014/main" id="{612A3795-9048-2D73-95E9-9BE8B97741B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46670" y="1944797"/>
              <a:ext cx="1644004" cy="759849"/>
            </a:xfrm>
            <a:prstGeom prst="rect">
              <a:avLst/>
            </a:prstGeom>
            <a:noFill/>
            <a:extLst>
              <a:ext uri="{909E8E84-426E-40DD-AFC4-6F175D3DCCD1}">
                <a14:hiddenFill xmlns:a14="http://schemas.microsoft.com/office/drawing/2010/main">
                  <a:solidFill>
                    <a:srgbClr val="FFFFFF"/>
                  </a:solidFill>
                </a14:hiddenFill>
              </a:ext>
            </a:extLst>
          </p:spPr>
        </p:pic>
        <p:pic>
          <p:nvPicPr>
            <p:cNvPr id="39" name="Google Shape;636;p7">
              <a:extLst>
                <a:ext uri="{FF2B5EF4-FFF2-40B4-BE49-F238E27FC236}">
                  <a16:creationId xmlns:a16="http://schemas.microsoft.com/office/drawing/2014/main" id="{0D5E3FF1-E667-99D4-9862-0FD4F446FF60}"/>
                </a:ext>
              </a:extLst>
            </p:cNvPr>
            <p:cNvPicPr preferRelativeResize="0"/>
            <p:nvPr/>
          </p:nvPicPr>
          <p:blipFill rotWithShape="1">
            <a:blip r:embed="rId7">
              <a:alphaModFix/>
            </a:blip>
            <a:srcRect/>
            <a:stretch/>
          </p:blipFill>
          <p:spPr>
            <a:xfrm>
              <a:off x="866470" y="2821439"/>
              <a:ext cx="950556" cy="813177"/>
            </a:xfrm>
            <a:prstGeom prst="rect">
              <a:avLst/>
            </a:prstGeom>
            <a:noFill/>
            <a:ln>
              <a:noFill/>
            </a:ln>
          </p:spPr>
        </p:pic>
        <p:pic>
          <p:nvPicPr>
            <p:cNvPr id="40" name="Google Shape;637;p7">
              <a:extLst>
                <a:ext uri="{FF2B5EF4-FFF2-40B4-BE49-F238E27FC236}">
                  <a16:creationId xmlns:a16="http://schemas.microsoft.com/office/drawing/2014/main" id="{9B8871E2-1DD8-26C4-CC68-A97D133D771D}"/>
                </a:ext>
              </a:extLst>
            </p:cNvPr>
            <p:cNvPicPr preferRelativeResize="0"/>
            <p:nvPr/>
          </p:nvPicPr>
          <p:blipFill rotWithShape="1">
            <a:blip r:embed="rId8">
              <a:alphaModFix/>
            </a:blip>
            <a:srcRect l="43022" t="42318" r="41759" b="34698"/>
            <a:stretch/>
          </p:blipFill>
          <p:spPr>
            <a:xfrm>
              <a:off x="4566958" y="3078844"/>
              <a:ext cx="737526" cy="806764"/>
            </a:xfrm>
            <a:prstGeom prst="rect">
              <a:avLst/>
            </a:prstGeom>
            <a:noFill/>
            <a:ln>
              <a:noFill/>
            </a:ln>
          </p:spPr>
        </p:pic>
        <p:pic>
          <p:nvPicPr>
            <p:cNvPr id="41" name="Picture 14" descr="Tata Cara Pengajuan Usulan Revisi Anggaran">
              <a:extLst>
                <a:ext uri="{FF2B5EF4-FFF2-40B4-BE49-F238E27FC236}">
                  <a16:creationId xmlns:a16="http://schemas.microsoft.com/office/drawing/2014/main" id="{803CBB30-8519-5B25-C46C-70563EBD96F9}"/>
                </a:ext>
              </a:extLst>
            </p:cNvPr>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33553" b="88158" l="33912" r="70628">
                          <a14:foregroundMark x1="65020" y1="49342" x2="65020" y2="49342"/>
                          <a14:foregroundMark x1="65154" y1="56579" x2="65154" y2="56579"/>
                          <a14:foregroundMark x1="67824" y1="51974" x2="67824" y2="51974"/>
                          <a14:foregroundMark x1="59813" y1="63816" x2="59813" y2="63816"/>
                          <a14:foregroundMark x1="53138" y1="55921" x2="53138" y2="55921"/>
                          <a14:foregroundMark x1="54606" y1="63158" x2="54606" y2="63158"/>
                          <a14:foregroundMark x1="48198" y1="62500" x2="48198" y2="62500"/>
                          <a14:foregroundMark x1="51402" y1="61184" x2="51402" y2="61184"/>
                          <a14:backgroundMark x1="50601" y1="65789" x2="50601" y2="65789"/>
                          <a14:backgroundMark x1="68358" y1="59211" x2="68358" y2="59211"/>
                        </a14:backgroundRemoval>
                      </a14:imgEffect>
                    </a14:imgLayer>
                  </a14:imgProps>
                </a:ext>
                <a:ext uri="{28A0092B-C50C-407E-A947-70E740481C1C}">
                  <a14:useLocalDpi xmlns:a14="http://schemas.microsoft.com/office/drawing/2010/main" val="0"/>
                </a:ext>
              </a:extLst>
            </a:blip>
            <a:srcRect l="32963" t="26794" r="28197" b="4427"/>
            <a:stretch/>
          </p:blipFill>
          <p:spPr bwMode="auto">
            <a:xfrm>
              <a:off x="4238777" y="4269299"/>
              <a:ext cx="1393889" cy="500930"/>
            </a:xfrm>
            <a:prstGeom prst="rect">
              <a:avLst/>
            </a:prstGeom>
            <a:noFill/>
            <a:extLst>
              <a:ext uri="{909E8E84-426E-40DD-AFC4-6F175D3DCCD1}">
                <a14:hiddenFill xmlns:a14="http://schemas.microsoft.com/office/drawing/2010/main">
                  <a:solidFill>
                    <a:srgbClr val="FFFFFF"/>
                  </a:solidFill>
                </a14:hiddenFill>
              </a:ext>
            </a:extLst>
          </p:spPr>
        </p:pic>
        <p:pic>
          <p:nvPicPr>
            <p:cNvPr id="42" name="Google Shape;633;p7">
              <a:extLst>
                <a:ext uri="{FF2B5EF4-FFF2-40B4-BE49-F238E27FC236}">
                  <a16:creationId xmlns:a16="http://schemas.microsoft.com/office/drawing/2014/main" id="{72C662D6-26E9-DCE2-FC4C-3BC7C071DF85}"/>
                </a:ext>
              </a:extLst>
            </p:cNvPr>
            <p:cNvPicPr preferRelativeResize="0"/>
            <p:nvPr/>
          </p:nvPicPr>
          <p:blipFill rotWithShape="1">
            <a:blip r:embed="rId11">
              <a:alphaModFix/>
            </a:blip>
            <a:srcRect/>
            <a:stretch/>
          </p:blipFill>
          <p:spPr>
            <a:xfrm>
              <a:off x="2687727" y="5195703"/>
              <a:ext cx="1170392" cy="965984"/>
            </a:xfrm>
            <a:prstGeom prst="rect">
              <a:avLst/>
            </a:prstGeom>
            <a:noFill/>
            <a:ln>
              <a:noFill/>
            </a:ln>
          </p:spPr>
        </p:pic>
        <p:pic>
          <p:nvPicPr>
            <p:cNvPr id="43" name="Picture 20" descr="e-PRIME">
              <a:extLst>
                <a:ext uri="{FF2B5EF4-FFF2-40B4-BE49-F238E27FC236}">
                  <a16:creationId xmlns:a16="http://schemas.microsoft.com/office/drawing/2014/main" id="{0BD97D6E-268D-B9A1-8401-60653055818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95254" y="5054925"/>
              <a:ext cx="737526" cy="737526"/>
            </a:xfrm>
            <a:prstGeom prst="rect">
              <a:avLst/>
            </a:prstGeom>
            <a:noFill/>
            <a:extLst>
              <a:ext uri="{909E8E84-426E-40DD-AFC4-6F175D3DCCD1}">
                <a14:hiddenFill xmlns:a14="http://schemas.microsoft.com/office/drawing/2010/main">
                  <a:solidFill>
                    <a:srgbClr val="FFFFFF"/>
                  </a:solidFill>
                </a14:hiddenFill>
              </a:ext>
            </a:extLst>
          </p:spPr>
        </p:pic>
        <p:grpSp>
          <p:nvGrpSpPr>
            <p:cNvPr id="44" name="Group 43">
              <a:extLst>
                <a:ext uri="{FF2B5EF4-FFF2-40B4-BE49-F238E27FC236}">
                  <a16:creationId xmlns:a16="http://schemas.microsoft.com/office/drawing/2014/main" id="{69D881F7-3C79-92AE-A576-DA42528DE169}"/>
                </a:ext>
              </a:extLst>
            </p:cNvPr>
            <p:cNvGrpSpPr/>
            <p:nvPr/>
          </p:nvGrpSpPr>
          <p:grpSpPr>
            <a:xfrm>
              <a:off x="1050327" y="3991355"/>
              <a:ext cx="873976" cy="1073934"/>
              <a:chOff x="3307745" y="3636868"/>
              <a:chExt cx="993363" cy="1275992"/>
            </a:xfrm>
          </p:grpSpPr>
          <p:pic>
            <p:nvPicPr>
              <p:cNvPr id="46" name="Picture 10" descr="SMILE">
                <a:extLst>
                  <a:ext uri="{FF2B5EF4-FFF2-40B4-BE49-F238E27FC236}">
                    <a16:creationId xmlns:a16="http://schemas.microsoft.com/office/drawing/2014/main" id="{DF5A1E70-7B35-03D0-6090-C8FCC5E1893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07745" y="4507366"/>
                <a:ext cx="993363" cy="40549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 descr="Web SIMAN">
                <a:extLst>
                  <a:ext uri="{FF2B5EF4-FFF2-40B4-BE49-F238E27FC236}">
                    <a16:creationId xmlns:a16="http://schemas.microsoft.com/office/drawing/2014/main" id="{1C3F8A44-F73F-614B-EF1F-27C0BF6256C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426834" y="3636868"/>
                <a:ext cx="745314" cy="743238"/>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2" descr="DJP Pastikan Pengadaan Core Tax Masih Sesuai Target">
              <a:extLst>
                <a:ext uri="{FF2B5EF4-FFF2-40B4-BE49-F238E27FC236}">
                  <a16:creationId xmlns:a16="http://schemas.microsoft.com/office/drawing/2014/main" id="{6AEA22F6-8D3E-BA35-40AC-D2E02EECAB20}"/>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50968" t="8767" r="3153" b="52233"/>
            <a:stretch/>
          </p:blipFill>
          <p:spPr bwMode="auto">
            <a:xfrm>
              <a:off x="3910594" y="4973536"/>
              <a:ext cx="1393890" cy="44433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angle: Rounded Corners 4">
            <a:extLst>
              <a:ext uri="{FF2B5EF4-FFF2-40B4-BE49-F238E27FC236}">
                <a16:creationId xmlns:a16="http://schemas.microsoft.com/office/drawing/2014/main" id="{D897DA51-7D8F-A784-B520-E8908A4D0370}"/>
              </a:ext>
            </a:extLst>
          </p:cNvPr>
          <p:cNvSpPr/>
          <p:nvPr/>
        </p:nvSpPr>
        <p:spPr>
          <a:xfrm>
            <a:off x="6560775" y="2579172"/>
            <a:ext cx="3840480" cy="105419"/>
          </a:xfrm>
          <a:prstGeom prst="round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0" name="Rectangle: Rounded Corners 49">
            <a:extLst>
              <a:ext uri="{FF2B5EF4-FFF2-40B4-BE49-F238E27FC236}">
                <a16:creationId xmlns:a16="http://schemas.microsoft.com/office/drawing/2014/main" id="{0210EF9B-CFA4-3089-FD8A-D0A4FA1053D2}"/>
              </a:ext>
            </a:extLst>
          </p:cNvPr>
          <p:cNvSpPr/>
          <p:nvPr/>
        </p:nvSpPr>
        <p:spPr>
          <a:xfrm>
            <a:off x="10524070" y="2579172"/>
            <a:ext cx="189440" cy="105419"/>
          </a:xfrm>
          <a:prstGeom prst="roundRect">
            <a:avLst/>
          </a:prstGeom>
          <a:solidFill>
            <a:srgbClr val="FFFF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slow">
        <p:pull/>
      </p:transition>
    </mc:Choice>
    <mc:Fallback xmlns:a14="http://schemas.microsoft.com/office/drawing/2010/main" xmlns:m="http://schemas.openxmlformats.org/officeDocument/2006/math"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EBDD957-6197-4FA8-9B6F-C2E8889456BA}"/>
              </a:ext>
            </a:extLst>
          </p:cNvPr>
          <p:cNvSpPr/>
          <p:nvPr/>
        </p:nvSpPr>
        <p:spPr>
          <a:xfrm>
            <a:off x="6329596" y="1216172"/>
            <a:ext cx="5524977" cy="1997308"/>
          </a:xfrm>
          <a:prstGeom prst="roundRect">
            <a:avLst>
              <a:gd name="adj" fmla="val 10872"/>
            </a:avLst>
          </a:prstGeom>
          <a:solidFill>
            <a:srgbClr val="FE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 name="Rectangle: Rounded Corners 5">
            <a:extLst>
              <a:ext uri="{FF2B5EF4-FFF2-40B4-BE49-F238E27FC236}">
                <a16:creationId xmlns:a16="http://schemas.microsoft.com/office/drawing/2014/main" id="{DC19C780-D3DD-45D4-ABD4-AFEBB1E12834}"/>
              </a:ext>
            </a:extLst>
          </p:cNvPr>
          <p:cNvSpPr/>
          <p:nvPr/>
        </p:nvSpPr>
        <p:spPr>
          <a:xfrm>
            <a:off x="274319" y="1219082"/>
            <a:ext cx="5821681" cy="1997308"/>
          </a:xfrm>
          <a:prstGeom prst="roundRect">
            <a:avLst>
              <a:gd name="adj" fmla="val 10872"/>
            </a:avLst>
          </a:prstGeom>
          <a:solidFill>
            <a:srgbClr val="FE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 name="Rectangle: Rounded Corners 6">
            <a:extLst>
              <a:ext uri="{FF2B5EF4-FFF2-40B4-BE49-F238E27FC236}">
                <a16:creationId xmlns:a16="http://schemas.microsoft.com/office/drawing/2014/main" id="{73A51E77-5F6A-44F2-99E4-069ADEB8484F}"/>
              </a:ext>
            </a:extLst>
          </p:cNvPr>
          <p:cNvSpPr/>
          <p:nvPr/>
        </p:nvSpPr>
        <p:spPr bwMode="auto">
          <a:xfrm>
            <a:off x="274320" y="1288532"/>
            <a:ext cx="5821681" cy="204940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Pemahaman data analitik yang belum merata</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Kemampuan SDM data analitik yang belum ideal (jumlah dan kualifikasi personel)</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Belum ada jenjang karir data analitik</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Belum tajamnya tujuan projek dalam konteks </a:t>
            </a:r>
            <a:r>
              <a:rPr kumimoji="0" lang="en-US" sz="1500" b="0" i="0" u="none" strike="noStrike" kern="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probis</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Belum optimalnya </a:t>
            </a:r>
            <a:r>
              <a:rPr kumimoji="0" lang="id-ID" sz="1500" b="0" i="1"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engagement </a:t>
            </a: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pemilik </a:t>
            </a:r>
            <a:r>
              <a:rPr kumimoji="0" lang="en-US" sz="1500" b="0" i="0" u="none" strike="noStrike" kern="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probis</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 </a:t>
            </a: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dan unit IT</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d-ID" sz="1500" b="0" i="1"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Tools </a:t>
            </a: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dan infrastruktur belum memadai</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8" name="Rectangle: Rounded Corners 7">
            <a:extLst>
              <a:ext uri="{FF2B5EF4-FFF2-40B4-BE49-F238E27FC236}">
                <a16:creationId xmlns:a16="http://schemas.microsoft.com/office/drawing/2014/main" id="{91D2FB65-3593-46A5-8ABC-95C0A22BB287}"/>
              </a:ext>
            </a:extLst>
          </p:cNvPr>
          <p:cNvSpPr/>
          <p:nvPr/>
        </p:nvSpPr>
        <p:spPr bwMode="auto">
          <a:xfrm>
            <a:off x="6351718" y="1340337"/>
            <a:ext cx="5502855" cy="16645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285750" marR="0" lvl="0" indent="-2857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Telah </a:t>
            </a:r>
            <a:r>
              <a:rPr kumimoji="0" lang="en-US" sz="1500" b="0" i="0" u="none" strike="noStrike" kern="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tersedia</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 data </a:t>
            </a:r>
            <a:r>
              <a:rPr kumimoji="0" lang="en-US" sz="1500" b="0" i="0" u="none" strike="noStrike" kern="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secara</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 host to host </a:t>
            </a:r>
            <a:r>
              <a:rPr kumimoji="0" lang="en-US" sz="1500" b="0" i="0" u="none" strike="noStrike" kern="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ntar</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 UE-1.</a:t>
            </a:r>
          </a:p>
          <a:p>
            <a:pPr marL="285750" marR="0" lvl="0" indent="-2857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Komunitas </a:t>
            </a:r>
            <a:r>
              <a:rPr kumimoji="0" lang="id-ID" sz="1500" b="0" i="1"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Data Analiti</a:t>
            </a:r>
            <a:r>
              <a:rPr kumimoji="0" lang="en-US" sz="1500" b="0" i="1"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cs </a:t>
            </a:r>
            <a:r>
              <a:rPr kumimoji="0" lang="en-US" sz="1500" b="0" i="0" u="none" strike="noStrike" kern="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Kemenkeu</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 </a:t>
            </a: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MoF-DAC)</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Mulai tumbuhnya kesadaran tentang pentingnya pemanfaatan data analitik meski baru dilakukan secara segregatif dan sporadic</a:t>
            </a:r>
            <a:r>
              <a:rPr kumimoji="0" lang="en-US"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a:t>
            </a:r>
            <a:endParaRPr kumimoji="0" lang="id-ID" sz="15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9" name="Rectangle 8">
            <a:extLst>
              <a:ext uri="{FF2B5EF4-FFF2-40B4-BE49-F238E27FC236}">
                <a16:creationId xmlns:a16="http://schemas.microsoft.com/office/drawing/2014/main" id="{60E22D25-585E-4409-B5E7-AB2937C6EBE5}"/>
              </a:ext>
            </a:extLst>
          </p:cNvPr>
          <p:cNvSpPr/>
          <p:nvPr/>
        </p:nvSpPr>
        <p:spPr bwMode="auto">
          <a:xfrm>
            <a:off x="274320" y="3331321"/>
            <a:ext cx="11580253" cy="411223"/>
          </a:xfrm>
          <a:prstGeom prst="rect">
            <a:avLst/>
          </a:prstGeom>
          <a:solidFill>
            <a:srgbClr val="002060"/>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Arial"/>
              </a:rPr>
              <a:t>RUANG DUKUNGAN</a:t>
            </a:r>
            <a:endParaRPr kumimoji="0" lang="id-ID" sz="18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10" name="Rectangle 9">
            <a:extLst>
              <a:ext uri="{FF2B5EF4-FFF2-40B4-BE49-F238E27FC236}">
                <a16:creationId xmlns:a16="http://schemas.microsoft.com/office/drawing/2014/main" id="{DDFD2C26-551C-41B6-988C-C7D631B4D44E}"/>
              </a:ext>
            </a:extLst>
          </p:cNvPr>
          <p:cNvSpPr/>
          <p:nvPr/>
        </p:nvSpPr>
        <p:spPr bwMode="auto">
          <a:xfrm>
            <a:off x="337427" y="893745"/>
            <a:ext cx="5869978" cy="345242"/>
          </a:xfrm>
          <a:prstGeom prst="rect">
            <a:avLst/>
          </a:prstGeom>
          <a:no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d-ID" sz="1600" b="1" i="0" u="none" strike="noStrike" kern="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Arial"/>
              </a:rPr>
              <a:t>TANTANGAN</a:t>
            </a:r>
          </a:p>
        </p:txBody>
      </p:sp>
      <p:sp>
        <p:nvSpPr>
          <p:cNvPr id="11" name="Rectangle 10">
            <a:extLst>
              <a:ext uri="{FF2B5EF4-FFF2-40B4-BE49-F238E27FC236}">
                <a16:creationId xmlns:a16="http://schemas.microsoft.com/office/drawing/2014/main" id="{D5E148BC-AC9C-452F-A516-F8A35CECFF13}"/>
              </a:ext>
            </a:extLst>
          </p:cNvPr>
          <p:cNvSpPr/>
          <p:nvPr/>
        </p:nvSpPr>
        <p:spPr bwMode="auto">
          <a:xfrm>
            <a:off x="6351718" y="893745"/>
            <a:ext cx="5502855" cy="327014"/>
          </a:xfrm>
          <a:prstGeom prst="rect">
            <a:avLst/>
          </a:prstGeom>
          <a:no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d-ID" sz="1600" b="1" i="0" u="none" strike="noStrike" kern="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Arial"/>
              </a:rPr>
              <a:t>POTENSI</a:t>
            </a:r>
          </a:p>
        </p:txBody>
      </p:sp>
      <p:grpSp>
        <p:nvGrpSpPr>
          <p:cNvPr id="12" name="Group 11">
            <a:extLst>
              <a:ext uri="{FF2B5EF4-FFF2-40B4-BE49-F238E27FC236}">
                <a16:creationId xmlns:a16="http://schemas.microsoft.com/office/drawing/2014/main" id="{D3060800-396F-4200-8CC9-3E1F81605A2B}"/>
              </a:ext>
            </a:extLst>
          </p:cNvPr>
          <p:cNvGrpSpPr/>
          <p:nvPr/>
        </p:nvGrpSpPr>
        <p:grpSpPr>
          <a:xfrm>
            <a:off x="4020368" y="3797961"/>
            <a:ext cx="1283544" cy="1229760"/>
            <a:chOff x="4154387" y="1700522"/>
            <a:chExt cx="1919684" cy="1919684"/>
          </a:xfrm>
          <a:solidFill>
            <a:schemeClr val="bg1">
              <a:lumMod val="95000"/>
            </a:schemeClr>
          </a:solidFill>
        </p:grpSpPr>
        <p:sp>
          <p:nvSpPr>
            <p:cNvPr id="13" name="Circle">
              <a:extLst>
                <a:ext uri="{FF2B5EF4-FFF2-40B4-BE49-F238E27FC236}">
                  <a16:creationId xmlns:a16="http://schemas.microsoft.com/office/drawing/2014/main" id="{7CA57556-AD83-445E-83EA-BF8267EF6E4A}"/>
                </a:ext>
              </a:extLst>
            </p:cNvPr>
            <p:cNvSpPr/>
            <p:nvPr/>
          </p:nvSpPr>
          <p:spPr>
            <a:xfrm>
              <a:off x="4154387" y="1700522"/>
              <a:ext cx="1919684" cy="1919684"/>
            </a:xfrm>
            <a:prstGeom prst="ellipse">
              <a:avLst/>
            </a:prstGeom>
            <a:grpFill/>
            <a:ln w="28575">
              <a:solidFill>
                <a:srgbClr val="002060"/>
              </a:solidFill>
            </a:ln>
          </p:spPr>
          <p:style>
            <a:lnRef idx="2">
              <a:schemeClr val="accent5"/>
            </a:lnRef>
            <a:fillRef idx="1">
              <a:schemeClr val="lt1"/>
            </a:fillRef>
            <a:effectRef idx="0">
              <a:schemeClr val="accent5"/>
            </a:effectRef>
            <a:fontRef idx="minor">
              <a:schemeClr val="dk1"/>
            </a:fontRef>
          </p:style>
          <p:txBody>
            <a:bodyPr wrap="square" lIns="0" tIns="0" rIns="0" bIns="0" numCol="1" anchor="ctr">
              <a:noAutofit/>
            </a:bodyPr>
            <a:lstStyle/>
            <a:p>
              <a:pPr marL="0" marR="0" lvl="0" indent="0" algn="l" defTabSz="1528703" rtl="0" eaLnBrk="1" fontAlgn="auto" latinLnBrk="0" hangingPunct="1">
                <a:lnSpc>
                  <a:spcPct val="100000"/>
                </a:lnSpc>
                <a:spcBef>
                  <a:spcPts val="0"/>
                </a:spcBef>
                <a:spcAft>
                  <a:spcPts val="0"/>
                </a:spcAft>
                <a:buClrTx/>
                <a:buSzTx/>
                <a:buFontTx/>
                <a:buNone/>
                <a:tabLst/>
                <a:defRPr sz="5400" b="0">
                  <a:solidFill>
                    <a:srgbClr val="FFFFFF"/>
                  </a:solidFill>
                  <a:latin typeface="Helvetica Neue Medium"/>
                  <a:ea typeface="Helvetica Neue Medium"/>
                  <a:cs typeface="Helvetica Neue Medium"/>
                  <a:sym typeface="Helvetica Neue Medium"/>
                </a:defRPr>
              </a:pPr>
              <a:endParaRPr kumimoji="0" lang="id-ID" sz="54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4" name="6σ">
              <a:extLst>
                <a:ext uri="{FF2B5EF4-FFF2-40B4-BE49-F238E27FC236}">
                  <a16:creationId xmlns:a16="http://schemas.microsoft.com/office/drawing/2014/main" id="{CADF4D96-0B18-4951-A4C7-AB8EB5B1F6C9}"/>
                </a:ext>
              </a:extLst>
            </p:cNvPr>
            <p:cNvSpPr txBox="1"/>
            <p:nvPr/>
          </p:nvSpPr>
          <p:spPr>
            <a:xfrm>
              <a:off x="4304190" y="2780916"/>
              <a:ext cx="1620078" cy="71464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defRPr sz="6000" b="0">
                  <a:solidFill>
                    <a:srgbClr val="1D1C21"/>
                  </a:solidFill>
                  <a:latin typeface="+mn-lt"/>
                  <a:ea typeface="+mn-ea"/>
                  <a:cs typeface="+mn-cs"/>
                  <a:sym typeface="DM Sans 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d-ID" sz="1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DM Sans Bold"/>
                </a:rPr>
                <a:t>PROS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d-ID" sz="1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DM Sans Bold"/>
                </a:rPr>
                <a:t>BISNIS</a:t>
              </a:r>
            </a:p>
          </p:txBody>
        </p:sp>
        <p:pic>
          <p:nvPicPr>
            <p:cNvPr id="15" name="Picture 2" descr="Business Process Icons - Download Free Vector Icons | Noun Project">
              <a:extLst>
                <a:ext uri="{FF2B5EF4-FFF2-40B4-BE49-F238E27FC236}">
                  <a16:creationId xmlns:a16="http://schemas.microsoft.com/office/drawing/2014/main" id="{FD74F3C6-AEAD-4F70-BDE2-26E839D2C45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637979" y="1842367"/>
              <a:ext cx="952500" cy="952500"/>
            </a:xfrm>
            <a:prstGeom prst="rect">
              <a:avLst/>
            </a:prstGeom>
            <a:grpFill/>
          </p:spPr>
        </p:pic>
      </p:grpSp>
      <p:sp>
        <p:nvSpPr>
          <p:cNvPr id="16" name="Rectangle: Rounded Corners 15">
            <a:extLst>
              <a:ext uri="{FF2B5EF4-FFF2-40B4-BE49-F238E27FC236}">
                <a16:creationId xmlns:a16="http://schemas.microsoft.com/office/drawing/2014/main" id="{5BCFACAA-0A89-4E31-8D7D-03BBD23CFC8C}"/>
              </a:ext>
            </a:extLst>
          </p:cNvPr>
          <p:cNvSpPr/>
          <p:nvPr/>
        </p:nvSpPr>
        <p:spPr>
          <a:xfrm>
            <a:off x="296768" y="4033375"/>
            <a:ext cx="3423988" cy="513860"/>
          </a:xfrm>
          <a:prstGeom prst="roundRect">
            <a:avLst/>
          </a:prstGeom>
          <a:solidFill>
            <a:srgbClr val="0035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d-ID" sz="16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Otomatisasi </a:t>
            </a:r>
            <a:r>
              <a:rPr kumimoji="0" lang="id-ID" sz="16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rPr>
              <a:t>proses bisnis berbasis DA</a:t>
            </a:r>
            <a:endParaRPr kumimoji="0" lang="id-ID" sz="16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17" name="Rectangle: Rounded Corners 16">
            <a:extLst>
              <a:ext uri="{FF2B5EF4-FFF2-40B4-BE49-F238E27FC236}">
                <a16:creationId xmlns:a16="http://schemas.microsoft.com/office/drawing/2014/main" id="{B92A1E10-1F9E-4FBD-B4B5-072D79F56BB9}"/>
              </a:ext>
            </a:extLst>
          </p:cNvPr>
          <p:cNvSpPr/>
          <p:nvPr/>
        </p:nvSpPr>
        <p:spPr>
          <a:xfrm>
            <a:off x="296768" y="4696219"/>
            <a:ext cx="3423988" cy="51386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d-ID" sz="1600" b="1" i="0"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Meningkatkan kualitas </a:t>
            </a:r>
            <a:r>
              <a:rPr kumimoji="0" lang="id-ID" sz="1600" b="1" i="0" u="none" strike="noStrike" kern="0" cap="none" spc="0" normalizeH="0" baseline="0" noProof="0" dirty="0" err="1">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input</a:t>
            </a:r>
            <a:r>
              <a:rPr kumimoji="0" lang="id-ID" sz="1600" b="1" i="0"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 data</a:t>
            </a:r>
            <a:endParaRPr kumimoji="0" lang="id-ID" sz="1600" b="0" i="0"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18" name="Group 17">
            <a:extLst>
              <a:ext uri="{FF2B5EF4-FFF2-40B4-BE49-F238E27FC236}">
                <a16:creationId xmlns:a16="http://schemas.microsoft.com/office/drawing/2014/main" id="{1BEA7D88-6B90-459D-AA9E-4762CA56BBB5}"/>
              </a:ext>
            </a:extLst>
          </p:cNvPr>
          <p:cNvGrpSpPr/>
          <p:nvPr/>
        </p:nvGrpSpPr>
        <p:grpSpPr>
          <a:xfrm>
            <a:off x="5840520" y="4592657"/>
            <a:ext cx="1283543" cy="1341648"/>
            <a:chOff x="5313817" y="2741401"/>
            <a:chExt cx="1919684" cy="1919684"/>
          </a:xfrm>
        </p:grpSpPr>
        <p:sp>
          <p:nvSpPr>
            <p:cNvPr id="19" name="Circle">
              <a:extLst>
                <a:ext uri="{FF2B5EF4-FFF2-40B4-BE49-F238E27FC236}">
                  <a16:creationId xmlns:a16="http://schemas.microsoft.com/office/drawing/2014/main" id="{E60DBDBB-DF5B-4E70-8654-CCCE6D881A30}"/>
                </a:ext>
              </a:extLst>
            </p:cNvPr>
            <p:cNvSpPr/>
            <p:nvPr/>
          </p:nvSpPr>
          <p:spPr>
            <a:xfrm>
              <a:off x="5313817" y="2741401"/>
              <a:ext cx="1919684" cy="1919684"/>
            </a:xfrm>
            <a:prstGeom prst="ellipse">
              <a:avLst/>
            </a:prstGeom>
            <a:solidFill>
              <a:schemeClr val="bg1">
                <a:lumMod val="95000"/>
              </a:schemeClr>
            </a:solidFill>
            <a:ln w="28575">
              <a:solidFill>
                <a:srgbClr val="002060"/>
              </a:solidFill>
            </a:ln>
          </p:spPr>
          <p:style>
            <a:lnRef idx="2">
              <a:schemeClr val="accent5"/>
            </a:lnRef>
            <a:fillRef idx="1">
              <a:schemeClr val="lt1"/>
            </a:fillRef>
            <a:effectRef idx="0">
              <a:schemeClr val="accent5"/>
            </a:effectRef>
            <a:fontRef idx="minor">
              <a:schemeClr val="dk1"/>
            </a:fontRef>
          </p:style>
          <p:txBody>
            <a:bodyPr wrap="square" lIns="0" tIns="0" rIns="0" bIns="0" numCol="1" anchor="ctr">
              <a:noAutofit/>
            </a:bodyPr>
            <a:lstStyle/>
            <a:p>
              <a:pPr marL="0" marR="0" lvl="0" indent="0" algn="l" defTabSz="1528703" rtl="0" eaLnBrk="1" fontAlgn="auto" latinLnBrk="0" hangingPunct="1">
                <a:lnSpc>
                  <a:spcPct val="100000"/>
                </a:lnSpc>
                <a:spcBef>
                  <a:spcPts val="0"/>
                </a:spcBef>
                <a:spcAft>
                  <a:spcPts val="0"/>
                </a:spcAft>
                <a:buClrTx/>
                <a:buSzTx/>
                <a:buFontTx/>
                <a:buNone/>
                <a:tabLst/>
                <a:defRPr sz="5400" b="0">
                  <a:solidFill>
                    <a:srgbClr val="FFFFFF"/>
                  </a:solidFill>
                  <a:latin typeface="Helvetica Neue Medium"/>
                  <a:ea typeface="Helvetica Neue Medium"/>
                  <a:cs typeface="Helvetica Neue Medium"/>
                  <a:sym typeface="Helvetica Neue Medium"/>
                </a:defRPr>
              </a:pPr>
              <a:endParaRPr kumimoji="0" lang="id-ID" sz="54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0" name="6σ">
              <a:extLst>
                <a:ext uri="{FF2B5EF4-FFF2-40B4-BE49-F238E27FC236}">
                  <a16:creationId xmlns:a16="http://schemas.microsoft.com/office/drawing/2014/main" id="{689EED02-0887-430E-889F-B14392F4E1C2}"/>
                </a:ext>
              </a:extLst>
            </p:cNvPr>
            <p:cNvSpPr txBox="1"/>
            <p:nvPr/>
          </p:nvSpPr>
          <p:spPr>
            <a:xfrm>
              <a:off x="5400948" y="3683678"/>
              <a:ext cx="1745399" cy="71464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numCol="1" anchor="ctr">
              <a:noAutofit/>
            </a:bodyPr>
            <a:lstStyle>
              <a:lvl1pPr defTabSz="457200">
                <a:defRPr sz="6000" b="0">
                  <a:solidFill>
                    <a:srgbClr val="1D1C21"/>
                  </a:solidFill>
                  <a:latin typeface="+mn-lt"/>
                  <a:ea typeface="+mn-ea"/>
                  <a:cs typeface="+mn-cs"/>
                  <a:sym typeface="DM Sans 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DM Sans Bold"/>
                </a:rPr>
                <a:t>ORGANISASI</a:t>
              </a:r>
            </a:p>
          </p:txBody>
        </p:sp>
        <p:pic>
          <p:nvPicPr>
            <p:cNvPr id="21" name="Picture 4" descr="Icon Organization #324655 - Free Icons Library">
              <a:extLst>
                <a:ext uri="{FF2B5EF4-FFF2-40B4-BE49-F238E27FC236}">
                  <a16:creationId xmlns:a16="http://schemas.microsoft.com/office/drawing/2014/main" id="{1CEDAB1C-1218-412B-8A66-72204FD60059}"/>
                </a:ext>
              </a:extLst>
            </p:cNvPr>
            <p:cNvPicPr>
              <a:picLocks noChangeAspect="1" noChangeArrowheads="1"/>
            </p:cNvPicPr>
            <p:nvPr/>
          </p:nvPicPr>
          <p:blipFill>
            <a:blip r:embed="rId4" cstate="screen">
              <a:clrChange>
                <a:clrFrom>
                  <a:srgbClr val="000000">
                    <a:alpha val="0"/>
                  </a:srgbClr>
                </a:clrFrom>
                <a:clrTo>
                  <a:srgbClr val="000000">
                    <a:alpha val="0"/>
                  </a:srgbClr>
                </a:clrTo>
              </a:clrChang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a:ext>
              </a:extLst>
            </a:blip>
            <a:srcRect/>
            <a:stretch>
              <a:fillRect/>
            </a:stretch>
          </p:blipFill>
          <p:spPr bwMode="auto">
            <a:xfrm>
              <a:off x="5804367" y="2935226"/>
              <a:ext cx="987548" cy="987548"/>
            </a:xfrm>
            <a:prstGeom prst="rect">
              <a:avLst/>
            </a:prstGeom>
            <a:solidFill>
              <a:schemeClr val="bg1">
                <a:lumMod val="95000"/>
              </a:schemeClr>
            </a:solidFill>
          </p:spPr>
        </p:pic>
      </p:grpSp>
      <p:grpSp>
        <p:nvGrpSpPr>
          <p:cNvPr id="22" name="Group 21">
            <a:extLst>
              <a:ext uri="{FF2B5EF4-FFF2-40B4-BE49-F238E27FC236}">
                <a16:creationId xmlns:a16="http://schemas.microsoft.com/office/drawing/2014/main" id="{465FDE5B-9A3F-40CE-8DCA-1B496BD55760}"/>
              </a:ext>
            </a:extLst>
          </p:cNvPr>
          <p:cNvGrpSpPr/>
          <p:nvPr/>
        </p:nvGrpSpPr>
        <p:grpSpPr>
          <a:xfrm>
            <a:off x="7456361" y="4367801"/>
            <a:ext cx="4398212" cy="1745513"/>
            <a:chOff x="7314599" y="1577968"/>
            <a:chExt cx="4705728" cy="1745513"/>
          </a:xfrm>
        </p:grpSpPr>
        <p:sp>
          <p:nvSpPr>
            <p:cNvPr id="23" name="Rectangle: Rounded Corners 22">
              <a:extLst>
                <a:ext uri="{FF2B5EF4-FFF2-40B4-BE49-F238E27FC236}">
                  <a16:creationId xmlns:a16="http://schemas.microsoft.com/office/drawing/2014/main" id="{55043ED0-2023-4F00-B657-13FBA5BBD802}"/>
                </a:ext>
              </a:extLst>
            </p:cNvPr>
            <p:cNvSpPr/>
            <p:nvPr/>
          </p:nvSpPr>
          <p:spPr>
            <a:xfrm>
              <a:off x="7317975" y="1577968"/>
              <a:ext cx="4702352" cy="43920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d-ID" sz="1600" b="1" i="0"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Pimpinan unit kerja menjadi </a:t>
              </a:r>
              <a:r>
                <a:rPr kumimoji="0" lang="id-ID" sz="1600" b="1" i="1"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role model</a:t>
              </a:r>
              <a:endParaRPr kumimoji="0" lang="id-ID" sz="1600" b="0" i="1"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24" name="Rectangle: Rounded Corners 23">
              <a:extLst>
                <a:ext uri="{FF2B5EF4-FFF2-40B4-BE49-F238E27FC236}">
                  <a16:creationId xmlns:a16="http://schemas.microsoft.com/office/drawing/2014/main" id="{888C057C-D142-4BDA-AED7-7799452D4328}"/>
                </a:ext>
              </a:extLst>
            </p:cNvPr>
            <p:cNvSpPr/>
            <p:nvPr/>
          </p:nvSpPr>
          <p:spPr>
            <a:xfrm>
              <a:off x="7314599" y="2148374"/>
              <a:ext cx="4702353" cy="439207"/>
            </a:xfrm>
            <a:prstGeom prst="roundRect">
              <a:avLst/>
            </a:prstGeom>
            <a:solidFill>
              <a:srgbClr val="0035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d-ID" sz="1600" b="1"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Arial"/>
                </a:rPr>
                <a:t>Pengembangan SDM</a:t>
              </a:r>
              <a:r>
                <a:rPr kumimoji="0" lang="id-ID" sz="16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Arial"/>
                </a:rPr>
                <a:t> (eksekutif dan teknis)</a:t>
              </a:r>
            </a:p>
          </p:txBody>
        </p:sp>
        <p:sp>
          <p:nvSpPr>
            <p:cNvPr id="25" name="Rectangle: Rounded Corners 24">
              <a:extLst>
                <a:ext uri="{FF2B5EF4-FFF2-40B4-BE49-F238E27FC236}">
                  <a16:creationId xmlns:a16="http://schemas.microsoft.com/office/drawing/2014/main" id="{C8BED977-9E99-4D32-8399-243C2190CBB5}"/>
                </a:ext>
              </a:extLst>
            </p:cNvPr>
            <p:cNvSpPr/>
            <p:nvPr/>
          </p:nvSpPr>
          <p:spPr>
            <a:xfrm>
              <a:off x="7314600" y="2718780"/>
              <a:ext cx="4702352" cy="604701"/>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8703" rtl="0" eaLnBrk="1" fontAlgn="auto" latinLnBrk="0" hangingPunct="1">
                <a:lnSpc>
                  <a:spcPct val="100000"/>
                </a:lnSpc>
                <a:spcBef>
                  <a:spcPts val="0"/>
                </a:spcBef>
                <a:spcAft>
                  <a:spcPts val="0"/>
                </a:spcAft>
                <a:buClr>
                  <a:srgbClr val="000000"/>
                </a:buClr>
                <a:buSzTx/>
                <a:buFontTx/>
                <a:buNone/>
                <a:tabLst/>
                <a:defRPr sz="5400" b="0">
                  <a:solidFill>
                    <a:srgbClr val="FFFFFF"/>
                  </a:solidFill>
                  <a:latin typeface="Helvetica Neue Medium"/>
                  <a:ea typeface="Helvetica Neue Medium"/>
                  <a:cs typeface="Helvetica Neue Medium"/>
                  <a:sym typeface="Helvetica Neue Medium"/>
                </a:defRPr>
              </a:pPr>
              <a:r>
                <a:rPr kumimoji="0" lang="id-ID" sz="1600" b="1" i="0"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Pembentukan </a:t>
              </a:r>
              <a:r>
                <a:rPr kumimoji="0" lang="en-US" sz="1600" b="1" i="0" u="none" strike="noStrike" kern="0" cap="none" spc="0" normalizeH="0" baseline="0" noProof="0" dirty="0" err="1">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Fungsional</a:t>
              </a:r>
              <a:r>
                <a:rPr kumimoji="0" lang="en-US" sz="1600" b="1" i="0"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 </a:t>
              </a:r>
              <a:r>
                <a:rPr kumimoji="0" lang="en-US" sz="1600" b="1" i="1" u="none" strike="noStrike" kern="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Roboto" panose="02000000000000000000" pitchFamily="2" charset="0"/>
                  <a:sym typeface="Arial"/>
                </a:rPr>
                <a:t>Data Analyst</a:t>
              </a:r>
              <a:endParaRPr kumimoji="0" lang="id-ID" sz="1600" b="0" i="1"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DM Sans Regular"/>
              </a:endParaRPr>
            </a:p>
          </p:txBody>
        </p:sp>
      </p:grpSp>
      <p:grpSp>
        <p:nvGrpSpPr>
          <p:cNvPr id="26" name="Group 25">
            <a:extLst>
              <a:ext uri="{FF2B5EF4-FFF2-40B4-BE49-F238E27FC236}">
                <a16:creationId xmlns:a16="http://schemas.microsoft.com/office/drawing/2014/main" id="{8635E416-AACB-4AA4-BCAE-68539770F751}"/>
              </a:ext>
            </a:extLst>
          </p:cNvPr>
          <p:cNvGrpSpPr/>
          <p:nvPr/>
        </p:nvGrpSpPr>
        <p:grpSpPr>
          <a:xfrm>
            <a:off x="4043493" y="5216035"/>
            <a:ext cx="1283543" cy="1208950"/>
            <a:chOff x="4154387" y="4503296"/>
            <a:chExt cx="1919684" cy="1919684"/>
          </a:xfrm>
          <a:solidFill>
            <a:schemeClr val="bg1">
              <a:lumMod val="95000"/>
            </a:schemeClr>
          </a:solidFill>
        </p:grpSpPr>
        <p:sp>
          <p:nvSpPr>
            <p:cNvPr id="27" name="Circle">
              <a:extLst>
                <a:ext uri="{FF2B5EF4-FFF2-40B4-BE49-F238E27FC236}">
                  <a16:creationId xmlns:a16="http://schemas.microsoft.com/office/drawing/2014/main" id="{1EA81571-2F35-4870-8C2A-75AEE0708F48}"/>
                </a:ext>
              </a:extLst>
            </p:cNvPr>
            <p:cNvSpPr/>
            <p:nvPr/>
          </p:nvSpPr>
          <p:spPr>
            <a:xfrm>
              <a:off x="4154387" y="4503296"/>
              <a:ext cx="1919684" cy="1919684"/>
            </a:xfrm>
            <a:prstGeom prst="ellipse">
              <a:avLst/>
            </a:prstGeom>
            <a:grpFill/>
            <a:ln w="28575">
              <a:solidFill>
                <a:srgbClr val="002060"/>
              </a:solidFill>
            </a:ln>
          </p:spPr>
          <p:style>
            <a:lnRef idx="2">
              <a:schemeClr val="accent5"/>
            </a:lnRef>
            <a:fillRef idx="1">
              <a:schemeClr val="lt1"/>
            </a:fillRef>
            <a:effectRef idx="0">
              <a:schemeClr val="accent5"/>
            </a:effectRef>
            <a:fontRef idx="minor">
              <a:schemeClr val="dk1"/>
            </a:fontRef>
          </p:style>
          <p:txBody>
            <a:bodyPr wrap="square" lIns="0" tIns="0" rIns="0" bIns="0" numCol="1" anchor="ctr">
              <a:noAutofit/>
            </a:bodyPr>
            <a:lstStyle/>
            <a:p>
              <a:pPr marL="0" marR="0" lvl="0" indent="0" algn="l" defTabSz="1528703" rtl="0" eaLnBrk="1" fontAlgn="auto" latinLnBrk="0" hangingPunct="1">
                <a:lnSpc>
                  <a:spcPct val="100000"/>
                </a:lnSpc>
                <a:spcBef>
                  <a:spcPts val="0"/>
                </a:spcBef>
                <a:spcAft>
                  <a:spcPts val="0"/>
                </a:spcAft>
                <a:buClrTx/>
                <a:buSzTx/>
                <a:buFontTx/>
                <a:buNone/>
                <a:tabLst/>
                <a:defRPr sz="5400" b="0">
                  <a:solidFill>
                    <a:srgbClr val="FFFFFF"/>
                  </a:solidFill>
                  <a:latin typeface="Helvetica Neue Medium"/>
                  <a:ea typeface="Helvetica Neue Medium"/>
                  <a:cs typeface="Helvetica Neue Medium"/>
                  <a:sym typeface="Helvetica Neue Medium"/>
                </a:defRPr>
              </a:pPr>
              <a:endParaRPr kumimoji="0" lang="id-ID" sz="54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8" name="6σ">
              <a:extLst>
                <a:ext uri="{FF2B5EF4-FFF2-40B4-BE49-F238E27FC236}">
                  <a16:creationId xmlns:a16="http://schemas.microsoft.com/office/drawing/2014/main" id="{3FA0F3B9-0244-4DC1-87E0-DC960E37AB67}"/>
                </a:ext>
              </a:extLst>
            </p:cNvPr>
            <p:cNvSpPr txBox="1"/>
            <p:nvPr/>
          </p:nvSpPr>
          <p:spPr>
            <a:xfrm>
              <a:off x="4304190" y="5555688"/>
              <a:ext cx="1620078" cy="71464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defRPr sz="6000" b="0">
                  <a:solidFill>
                    <a:srgbClr val="1D1C21"/>
                  </a:solidFill>
                  <a:latin typeface="+mn-lt"/>
                  <a:ea typeface="+mn-ea"/>
                  <a:cs typeface="+mn-cs"/>
                  <a:sym typeface="DM Sans 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d-ID" sz="1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DM Sans Bold"/>
                </a:rPr>
                <a:t>REWARD</a:t>
              </a:r>
            </a:p>
          </p:txBody>
        </p:sp>
        <p:pic>
          <p:nvPicPr>
            <p:cNvPr id="29" name="Picture 6" descr="Free Icon | Reward symbol in a circle">
              <a:extLst>
                <a:ext uri="{FF2B5EF4-FFF2-40B4-BE49-F238E27FC236}">
                  <a16:creationId xmlns:a16="http://schemas.microsoft.com/office/drawing/2014/main" id="{88ACB987-2CD2-4D1D-914B-FCE23340105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670239" y="4829846"/>
              <a:ext cx="830007" cy="830007"/>
            </a:xfrm>
            <a:prstGeom prst="rect">
              <a:avLst/>
            </a:prstGeom>
            <a:grpFill/>
          </p:spPr>
        </p:pic>
      </p:grpSp>
      <p:sp>
        <p:nvSpPr>
          <p:cNvPr id="30" name="Rectangle: Rounded Corners 29">
            <a:extLst>
              <a:ext uri="{FF2B5EF4-FFF2-40B4-BE49-F238E27FC236}">
                <a16:creationId xmlns:a16="http://schemas.microsoft.com/office/drawing/2014/main" id="{E0627387-F524-4E01-8096-972069872077}"/>
              </a:ext>
            </a:extLst>
          </p:cNvPr>
          <p:cNvSpPr/>
          <p:nvPr/>
        </p:nvSpPr>
        <p:spPr>
          <a:xfrm>
            <a:off x="287207" y="5469785"/>
            <a:ext cx="3423988" cy="738944"/>
          </a:xfrm>
          <a:prstGeom prst="roundRect">
            <a:avLst/>
          </a:prstGeom>
          <a:solidFill>
            <a:srgbClr val="0035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8703" rtl="0" eaLnBrk="1" fontAlgn="auto" latinLnBrk="0" hangingPunct="1">
              <a:lnSpc>
                <a:spcPct val="100000"/>
              </a:lnSpc>
              <a:spcBef>
                <a:spcPts val="0"/>
              </a:spcBef>
              <a:spcAft>
                <a:spcPts val="0"/>
              </a:spcAft>
              <a:buClr>
                <a:srgbClr val="000000"/>
              </a:buClr>
              <a:buSzTx/>
              <a:buFont typeface="Arial"/>
              <a:buNone/>
              <a:tabLst/>
              <a:defRPr sz="5400" b="0">
                <a:solidFill>
                  <a:srgbClr val="FFFFFF"/>
                </a:solidFill>
                <a:latin typeface="Helvetica Neue Medium"/>
                <a:ea typeface="Helvetica Neue Medium"/>
                <a:cs typeface="Helvetica Neue Medium"/>
                <a:sym typeface="Helvetica Neue Medium"/>
              </a:defRPr>
            </a:pPr>
            <a:r>
              <a:rPr kumimoji="0" lang="id-ID" sz="16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DM Sans Regular"/>
              </a:rPr>
              <a:t>Penghargaan bagi pegawai bertalenta pembawa perubahan berdasarkan DA</a:t>
            </a:r>
          </a:p>
        </p:txBody>
      </p:sp>
      <p:sp>
        <p:nvSpPr>
          <p:cNvPr id="32" name="Title 1">
            <a:extLst>
              <a:ext uri="{FF2B5EF4-FFF2-40B4-BE49-F238E27FC236}">
                <a16:creationId xmlns:a16="http://schemas.microsoft.com/office/drawing/2014/main" id="{21EF3C5B-186E-48D8-94CA-6AA08F2669C3}"/>
              </a:ext>
            </a:extLst>
          </p:cNvPr>
          <p:cNvSpPr txBox="1">
            <a:spLocks/>
          </p:cNvSpPr>
          <p:nvPr/>
        </p:nvSpPr>
        <p:spPr>
          <a:xfrm>
            <a:off x="296768" y="72540"/>
            <a:ext cx="11854573" cy="743793"/>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000" b="1" i="0" kern="1200">
                <a:solidFill>
                  <a:schemeClr val="accent5">
                    <a:lumMod val="50000"/>
                  </a:schemeClr>
                </a:solidFill>
                <a:latin typeface="Roboto" panose="02000000000000000000" pitchFamily="2" charset="0"/>
                <a:ea typeface="Roboto" panose="02000000000000000000" pitchFamily="2" charset="0"/>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err="1">
                <a:ln>
                  <a:noFill/>
                </a:ln>
                <a:solidFill>
                  <a:srgbClr val="5B9BD5">
                    <a:lumMod val="50000"/>
                  </a:srgbClr>
                </a:solidFill>
                <a:effectLst/>
                <a:uLnTx/>
                <a:uFillTx/>
                <a:latin typeface="Roboto" panose="02000000000000000000" pitchFamily="2" charset="0"/>
                <a:ea typeface="Roboto" panose="02000000000000000000" pitchFamily="2" charset="0"/>
                <a:cs typeface="+mj-cs"/>
              </a:rPr>
              <a:t>Tantangan</a:t>
            </a:r>
            <a:r>
              <a:rPr kumimoji="0" lang="en-US" sz="3200" b="1" i="0" u="none" strike="noStrike" kern="120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mj-cs"/>
              </a:rPr>
              <a:t>, </a:t>
            </a:r>
            <a:r>
              <a:rPr kumimoji="0" lang="en-US" sz="3200" b="1" i="0" u="none" strike="noStrike" kern="1200" cap="none" spc="0" normalizeH="0" baseline="0" noProof="0" dirty="0" err="1">
                <a:ln>
                  <a:noFill/>
                </a:ln>
                <a:solidFill>
                  <a:srgbClr val="5B9BD5">
                    <a:lumMod val="50000"/>
                  </a:srgbClr>
                </a:solidFill>
                <a:effectLst/>
                <a:uLnTx/>
                <a:uFillTx/>
                <a:latin typeface="Roboto" panose="02000000000000000000" pitchFamily="2" charset="0"/>
                <a:ea typeface="Roboto" panose="02000000000000000000" pitchFamily="2" charset="0"/>
                <a:cs typeface="+mj-cs"/>
              </a:rPr>
              <a:t>Potensi</a:t>
            </a:r>
            <a:r>
              <a:rPr kumimoji="0" lang="en-US" sz="3200" b="1" i="0" u="none" strike="noStrike" kern="120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mj-cs"/>
              </a:rPr>
              <a:t>, dan Ruang </a:t>
            </a:r>
            <a:r>
              <a:rPr kumimoji="0" lang="en-US" sz="3200" b="1" i="0" u="none" strike="noStrike" kern="1200" cap="none" spc="0" normalizeH="0" baseline="0" noProof="0" dirty="0" err="1">
                <a:ln>
                  <a:noFill/>
                </a:ln>
                <a:solidFill>
                  <a:srgbClr val="5B9BD5">
                    <a:lumMod val="50000"/>
                  </a:srgbClr>
                </a:solidFill>
                <a:effectLst/>
                <a:uLnTx/>
                <a:uFillTx/>
                <a:latin typeface="Roboto" panose="02000000000000000000" pitchFamily="2" charset="0"/>
                <a:ea typeface="Roboto" panose="02000000000000000000" pitchFamily="2" charset="0"/>
                <a:cs typeface="+mj-cs"/>
              </a:rPr>
              <a:t>Dukungan</a:t>
            </a:r>
            <a:r>
              <a:rPr kumimoji="0" lang="en-US" sz="3200" b="1" i="0" u="none" strike="noStrike" kern="120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mj-cs"/>
              </a:rPr>
              <a:t> DDDM</a:t>
            </a:r>
            <a:endParaRPr kumimoji="0" lang="nn-NO" sz="3200" b="1" i="0" u="none" strike="noStrike" kern="1200" cap="none" spc="0" normalizeH="0" baseline="0" noProof="0" dirty="0">
              <a:ln>
                <a:noFill/>
              </a:ln>
              <a:solidFill>
                <a:srgbClr val="5B9BD5">
                  <a:lumMod val="50000"/>
                </a:srgbClr>
              </a:solidFill>
              <a:effectLst/>
              <a:uLnTx/>
              <a:uFillTx/>
              <a:latin typeface="Roboto" panose="02000000000000000000" pitchFamily="2" charset="0"/>
              <a:ea typeface="Roboto" panose="02000000000000000000" pitchFamily="2" charset="0"/>
              <a:cs typeface="+mj-cs"/>
            </a:endParaRPr>
          </a:p>
        </p:txBody>
      </p:sp>
    </p:spTree>
    <p:extLst>
      <p:ext uri="{BB962C8B-B14F-4D97-AF65-F5344CB8AC3E}">
        <p14:creationId xmlns:p14="http://schemas.microsoft.com/office/powerpoint/2010/main" val="163157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 action="ppaction://noaction"/>
            <a:extLst>
              <a:ext uri="{FF2B5EF4-FFF2-40B4-BE49-F238E27FC236}">
                <a16:creationId xmlns:a16="http://schemas.microsoft.com/office/drawing/2014/main" id="{44E6BD7A-C1B4-1243-C5CB-79D05D9E09B8}"/>
              </a:ext>
            </a:extLst>
          </p:cNvPr>
          <p:cNvPicPr>
            <a:picLocks noChangeAspect="1"/>
          </p:cNvPicPr>
          <p:nvPr/>
        </p:nvPicPr>
        <p:blipFill rotWithShape="1">
          <a:blip r:embed="rId2"/>
          <a:srcRect l="44849" t="10698" r="4767" b="53269"/>
          <a:stretch/>
        </p:blipFill>
        <p:spPr>
          <a:xfrm>
            <a:off x="4106545" y="3521701"/>
            <a:ext cx="2206531" cy="1319410"/>
          </a:xfrm>
          <a:prstGeom prst="rect">
            <a:avLst/>
          </a:prstGeom>
        </p:spPr>
      </p:pic>
      <p:sp>
        <p:nvSpPr>
          <p:cNvPr id="2" name="Title 1">
            <a:extLst>
              <a:ext uri="{FF2B5EF4-FFF2-40B4-BE49-F238E27FC236}">
                <a16:creationId xmlns:a16="http://schemas.microsoft.com/office/drawing/2014/main" id="{9668483A-F29F-9E49-A82E-BE31272D014C}"/>
              </a:ext>
            </a:extLst>
          </p:cNvPr>
          <p:cNvSpPr>
            <a:spLocks noGrp="1"/>
          </p:cNvSpPr>
          <p:nvPr>
            <p:ph type="title"/>
          </p:nvPr>
        </p:nvSpPr>
        <p:spPr>
          <a:xfrm>
            <a:off x="2011327" y="295162"/>
            <a:ext cx="8169345" cy="535087"/>
          </a:xfrm>
          <a:noFill/>
          <a:ln>
            <a:noFill/>
          </a:ln>
        </p:spPr>
        <p:txBody>
          <a:bodyPr spcFirstLastPara="1" wrap="square" lIns="91425" tIns="45700" rIns="91425" bIns="45700" anchor="ctr" anchorCtr="0">
            <a:normAutofit/>
          </a:bodyPr>
          <a:lstStyle/>
          <a:p>
            <a:r>
              <a:rPr lang="en-US" dirty="0" err="1">
                <a:sym typeface="Arial"/>
              </a:rPr>
              <a:t>Dampak</a:t>
            </a:r>
            <a:r>
              <a:rPr lang="en-US" dirty="0">
                <a:sym typeface="Arial"/>
              </a:rPr>
              <a:t> DA </a:t>
            </a:r>
            <a:r>
              <a:rPr lang="en-US" dirty="0" err="1">
                <a:sym typeface="Arial"/>
              </a:rPr>
              <a:t>Kemenkeu</a:t>
            </a:r>
            <a:endParaRPr lang="en-US" dirty="0">
              <a:sym typeface="Arial"/>
            </a:endParaRPr>
          </a:p>
        </p:txBody>
      </p:sp>
      <p:sp>
        <p:nvSpPr>
          <p:cNvPr id="6" name="Google Shape;1424;p126">
            <a:extLst>
              <a:ext uri="{FF2B5EF4-FFF2-40B4-BE49-F238E27FC236}">
                <a16:creationId xmlns:a16="http://schemas.microsoft.com/office/drawing/2014/main" id="{1013F9D7-B114-3892-8913-B758A6EB9055}"/>
              </a:ext>
            </a:extLst>
          </p:cNvPr>
          <p:cNvSpPr txBox="1"/>
          <p:nvPr/>
        </p:nvSpPr>
        <p:spPr>
          <a:xfrm>
            <a:off x="82550" y="1301504"/>
            <a:ext cx="3763500" cy="1578853"/>
          </a:xfrm>
          <a:prstGeom prst="rect">
            <a:avLst/>
          </a:prstGeom>
          <a:noFill/>
          <a:ln>
            <a:noFill/>
          </a:ln>
        </p:spPr>
        <p:txBody>
          <a:bodyPr spcFirstLastPara="1" wrap="square" lIns="91425" tIns="45700" rIns="91425" bIns="45700" anchor="t" anchorCtr="0">
            <a:spAutoFit/>
          </a:bodyPr>
          <a:lstStyle/>
          <a:p>
            <a:pPr marL="127000" marR="0" lvl="0" algn="r" defTabSz="914400" rtl="0" eaLnBrk="1" fontAlgn="auto" latinLnBrk="0" hangingPunct="1">
              <a:lnSpc>
                <a:spcPct val="115000"/>
              </a:lnSpc>
              <a:spcBef>
                <a:spcPts val="0"/>
              </a:spcBef>
              <a:spcAft>
                <a:spcPts val="0"/>
              </a:spcAft>
              <a:buClr>
                <a:srgbClr val="000000"/>
              </a:buClr>
              <a:buSzPts val="1600"/>
              <a:tabLst/>
              <a:defRPr/>
            </a:pP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Pemanfaatan</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99 data </a:t>
            </a:r>
            <a:r>
              <a:rPr kumimoji="0" lang="en-US" sz="1400" b="1" i="0" u="none" strike="noStrike" kern="0" cap="none" spc="0" normalizeH="0" baseline="0" noProof="0" dirty="0" err="1">
                <a:ln>
                  <a:noFill/>
                </a:ln>
                <a:solidFill>
                  <a:srgbClr val="000000"/>
                </a:solidFill>
                <a:effectLst/>
                <a:uLnTx/>
                <a:uFillTx/>
                <a:latin typeface="Arial"/>
                <a:ea typeface="+mn-ea"/>
                <a:cs typeface="Arial"/>
                <a:sym typeface="Arial"/>
              </a:rPr>
              <a:t>pemicu</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 pada data analytics di </a:t>
            </a:r>
            <a:r>
              <a:rPr kumimoji="0" lang="en-US" sz="1400" b="1" i="0" u="none" strike="noStrike" kern="0" cap="none" spc="0" normalizeH="0" baseline="0" noProof="0" dirty="0" err="1">
                <a:ln>
                  <a:noFill/>
                </a:ln>
                <a:solidFill>
                  <a:srgbClr val="000000"/>
                </a:solidFill>
                <a:effectLst/>
                <a:uLnTx/>
                <a:uFillTx/>
                <a:latin typeface="Arial"/>
                <a:ea typeface="+mn-ea"/>
                <a:cs typeface="Arial"/>
                <a:sym typeface="Arial"/>
              </a:rPr>
              <a:t>Approweb</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DJP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menghasilkan</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selisih</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nilai</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sebagai</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bahan</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analisis</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R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untuk</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dilakukan</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klarifikasi</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kepada</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Wajib</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Pajak</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Per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Desember</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2021, </a:t>
            </a:r>
            <a:r>
              <a:rPr lang="en-US" sz="1400" kern="0" dirty="0">
                <a:solidFill>
                  <a:srgbClr val="000000"/>
                </a:solidFill>
                <a:latin typeface="Arial"/>
                <a:cs typeface="Arial"/>
                <a:sym typeface="Arial"/>
              </a:rPr>
              <a:t>r</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ealisasi</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MPN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sebesar</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14,35 </a:t>
            </a:r>
            <a:r>
              <a:rPr kumimoji="0" lang="en-US" sz="1400" b="1" i="0" u="none" strike="noStrike" kern="0" cap="none" spc="0" normalizeH="0" baseline="0" noProof="0" dirty="0" err="1">
                <a:ln>
                  <a:noFill/>
                </a:ln>
                <a:solidFill>
                  <a:srgbClr val="000000"/>
                </a:solidFill>
                <a:effectLst/>
                <a:uLnTx/>
                <a:uFillTx/>
                <a:latin typeface="Arial"/>
                <a:ea typeface="+mn-ea"/>
                <a:cs typeface="Arial"/>
                <a:sym typeface="Arial"/>
              </a:rPr>
              <a:t>Triliun</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Rupiah.</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7" name="Google Shape;1427;p126">
            <a:extLst>
              <a:ext uri="{FF2B5EF4-FFF2-40B4-BE49-F238E27FC236}">
                <a16:creationId xmlns:a16="http://schemas.microsoft.com/office/drawing/2014/main" id="{C4325E62-0A1D-3F06-030F-8FC8E73409DD}"/>
              </a:ext>
            </a:extLst>
          </p:cNvPr>
          <p:cNvSpPr txBox="1"/>
          <p:nvPr/>
        </p:nvSpPr>
        <p:spPr>
          <a:xfrm>
            <a:off x="0" y="3639739"/>
            <a:ext cx="3984384" cy="1083333"/>
          </a:xfrm>
          <a:prstGeom prst="rect">
            <a:avLst/>
          </a:prstGeom>
          <a:noFill/>
          <a:ln>
            <a:noFill/>
          </a:ln>
        </p:spPr>
        <p:txBody>
          <a:bodyPr spcFirstLastPara="1" wrap="square" lIns="91425" tIns="45700" rIns="91425" bIns="45700" anchor="t" anchorCtr="0">
            <a:spAutoFit/>
          </a:bodyPr>
          <a:lstStyle/>
          <a:p>
            <a:pPr marL="127000" marR="0" lvl="0" algn="r" defTabSz="914400" rtl="0" eaLnBrk="1" fontAlgn="auto" latinLnBrk="0" hangingPunct="1">
              <a:lnSpc>
                <a:spcPct val="115000"/>
              </a:lnSpc>
              <a:spcBef>
                <a:spcPts val="0"/>
              </a:spcBef>
              <a:spcAft>
                <a:spcPts val="0"/>
              </a:spcAft>
              <a:buClr>
                <a:srgbClr val="000000"/>
              </a:buClr>
              <a:buSzPts val="1600"/>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Data Analytics Transfer Pricing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diimplementasikan</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dalam</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bentuk</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Peta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Risiko</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CRM Transfer Pricing yang </a:t>
            </a:r>
            <a:r>
              <a:rPr lang="en-US" sz="1400" kern="0" dirty="0">
                <a:solidFill>
                  <a:srgbClr val="000000"/>
                </a:solidFill>
                <a:latin typeface="Arial"/>
                <a:cs typeface="Arial"/>
                <a:sym typeface="Arial"/>
              </a:rPr>
              <a:t>m</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enghasilkan</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realisasi</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penerimaan</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negara </a:t>
            </a:r>
            <a:r>
              <a:rPr kumimoji="0" lang="en-US" sz="1400" b="0" i="0" u="none" strike="noStrike" kern="0" cap="none" spc="0" normalizeH="0" baseline="0" noProof="0" dirty="0" err="1">
                <a:ln>
                  <a:noFill/>
                </a:ln>
                <a:solidFill>
                  <a:srgbClr val="000000"/>
                </a:solidFill>
                <a:effectLst/>
                <a:uLnTx/>
                <a:uFillTx/>
                <a:latin typeface="Arial"/>
                <a:ea typeface="+mn-ea"/>
                <a:cs typeface="Arial"/>
                <a:sym typeface="Arial"/>
              </a:rPr>
              <a:t>sebesar</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20,6 T</a:t>
            </a:r>
            <a:endParaRPr kumimoji="0" sz="1400" b="1"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8" name="Google Shape;1460;p127">
            <a:extLst>
              <a:ext uri="{FF2B5EF4-FFF2-40B4-BE49-F238E27FC236}">
                <a16:creationId xmlns:a16="http://schemas.microsoft.com/office/drawing/2014/main" id="{920261EB-3B16-9AB8-D8F5-8633732D54D2}"/>
              </a:ext>
            </a:extLst>
          </p:cNvPr>
          <p:cNvSpPr txBox="1"/>
          <p:nvPr/>
        </p:nvSpPr>
        <p:spPr>
          <a:xfrm>
            <a:off x="8858504" y="4356500"/>
            <a:ext cx="3086569" cy="1546537"/>
          </a:xfrm>
          <a:prstGeom prst="rect">
            <a:avLst/>
          </a:prstGeom>
          <a:noFill/>
          <a:ln>
            <a:noFill/>
          </a:ln>
        </p:spPr>
        <p:txBody>
          <a:bodyPr spcFirstLastPara="1" wrap="square" lIns="91425" tIns="45700" rIns="91425" bIns="45700" anchor="t" anchorCtr="0">
            <a:spAutoFit/>
          </a:bodyPr>
          <a:lstStyle/>
          <a:p>
            <a:pPr marL="127000" marR="0" lvl="0" defTabSz="914400" rtl="0" eaLnBrk="1" fontAlgn="auto" latinLnBrk="0" hangingPunct="1">
              <a:lnSpc>
                <a:spcPct val="100000"/>
              </a:lnSpc>
              <a:spcBef>
                <a:spcPts val="0"/>
              </a:spcBef>
              <a:spcAft>
                <a:spcPts val="0"/>
              </a:spcAft>
              <a:buClr>
                <a:srgbClr val="000000"/>
              </a:buClr>
              <a:buSzPts val="1600"/>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a:t>
            </a:r>
            <a:r>
              <a:rPr kumimoji="0" lang="en-US" sz="1400" b="1" i="0" u="none" strike="noStrike" kern="0" cap="none" spc="0" normalizeH="0" baseline="0" noProof="0" dirty="0" err="1">
                <a:ln>
                  <a:noFill/>
                </a:ln>
                <a:solidFill>
                  <a:srgbClr val="000000"/>
                </a:solidFill>
                <a:effectLst/>
                <a:uLnTx/>
                <a:uFillTx/>
                <a:latin typeface="Arial"/>
                <a:cs typeface="Arial"/>
                <a:sym typeface="Arial"/>
              </a:rPr>
              <a:t>Itjen</a:t>
            </a:r>
            <a:r>
              <a:rPr kumimoji="0" lang="en-US" sz="1400" b="1" i="0" u="none" strike="noStrike" kern="0" cap="none" spc="0" normalizeH="0" baseline="0" noProof="0" dirty="0">
                <a:ln>
                  <a:noFill/>
                </a:ln>
                <a:solidFill>
                  <a:srgbClr val="000000"/>
                </a:solidFill>
                <a:effectLst/>
                <a:uLnTx/>
                <a:uFillTx/>
                <a:latin typeface="Arial"/>
                <a:cs typeface="Arial"/>
                <a:sym typeface="Arial"/>
              </a:rPr>
              <a:t>) Continuous audi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etepat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mbayar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iur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jamin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esehat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deng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temu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ompensasi</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mbayar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elebih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a:ln>
                  <a:noFill/>
                </a:ln>
                <a:solidFill>
                  <a:srgbClr val="000000"/>
                </a:solidFill>
                <a:effectLst/>
                <a:uLnTx/>
                <a:uFillTx/>
                <a:latin typeface="Arial"/>
                <a:cs typeface="Arial"/>
                <a:sym typeface="Arial"/>
              </a:rPr>
              <a:t>5,6 </a:t>
            </a:r>
            <a:r>
              <a:rPr kumimoji="0" lang="en-US" sz="1400" b="1" i="0" u="none" strike="noStrike" kern="0" cap="none" spc="0" normalizeH="0" baseline="0" noProof="0" dirty="0" err="1">
                <a:ln>
                  <a:noFill/>
                </a:ln>
                <a:solidFill>
                  <a:srgbClr val="000000"/>
                </a:solidFill>
                <a:effectLst/>
                <a:uLnTx/>
                <a:uFillTx/>
                <a:latin typeface="Arial"/>
                <a:cs typeface="Arial"/>
                <a:sym typeface="Arial"/>
              </a:rPr>
              <a:t>Milyar</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a:ln>
                  <a:noFill/>
                </a:ln>
                <a:solidFill>
                  <a:srgbClr val="000000"/>
                </a:solidFill>
                <a:effectLst/>
                <a:uLnTx/>
                <a:uFillTx/>
                <a:latin typeface="Arial"/>
                <a:cs typeface="Arial"/>
                <a:sym typeface="Arial"/>
              </a:rPr>
              <a:t>Rupiah pada </a:t>
            </a:r>
            <a:r>
              <a:rPr kumimoji="0" lang="en-US" sz="1400" b="0" i="0" u="none" strike="noStrike" kern="0" cap="none" spc="0" normalizeH="0" baseline="0" noProof="0" dirty="0" err="1">
                <a:ln>
                  <a:noFill/>
                </a:ln>
                <a:solidFill>
                  <a:srgbClr val="000000"/>
                </a:solidFill>
                <a:effectLst/>
                <a:uLnTx/>
                <a:uFillTx/>
                <a:latin typeface="Arial"/>
                <a:cs typeface="Arial"/>
                <a:sym typeface="Arial"/>
              </a:rPr>
              <a:t>Triwulan</a:t>
            </a:r>
            <a:r>
              <a:rPr kumimoji="0" lang="en-US" sz="1400" b="0" i="0" u="none" strike="noStrike" kern="0" cap="none" spc="0" normalizeH="0" baseline="0" noProof="0" dirty="0">
                <a:ln>
                  <a:noFill/>
                </a:ln>
                <a:solidFill>
                  <a:srgbClr val="000000"/>
                </a:solidFill>
                <a:effectLst/>
                <a:uLnTx/>
                <a:uFillTx/>
                <a:latin typeface="Arial"/>
                <a:cs typeface="Arial"/>
                <a:sym typeface="Arial"/>
              </a:rPr>
              <a:t> I 2021.</a:t>
            </a:r>
            <a:br>
              <a:rPr kumimoji="0" lang="en-US" sz="1400" b="0" i="0" u="none" strike="noStrike" kern="0" cap="none" spc="0" normalizeH="0" baseline="0" noProof="0" dirty="0">
                <a:ln>
                  <a:noFill/>
                </a:ln>
                <a:solidFill>
                  <a:srgbClr val="000000"/>
                </a:solidFill>
                <a:effectLst/>
                <a:uLnTx/>
                <a:uFillTx/>
                <a:latin typeface="Arial"/>
                <a:cs typeface="Arial"/>
                <a:sym typeface="Arial"/>
              </a:rPr>
            </a:br>
            <a:endParaRPr kumimoji="0" sz="1050" b="0" i="0" u="none" strike="noStrike" kern="0" cap="none" spc="0" normalizeH="0" baseline="0" noProof="0" dirty="0">
              <a:ln>
                <a:noFill/>
              </a:ln>
              <a:solidFill>
                <a:srgbClr val="000000"/>
              </a:solidFill>
              <a:effectLst/>
              <a:uLnTx/>
              <a:uFillTx/>
              <a:latin typeface="Roboto"/>
              <a:ea typeface="Roboto"/>
              <a:cs typeface="Roboto"/>
              <a:sym typeface="Roboto"/>
            </a:endParaRPr>
          </a:p>
        </p:txBody>
      </p:sp>
      <p:sp>
        <p:nvSpPr>
          <p:cNvPr id="9" name="Google Shape;1461;p127">
            <a:extLst>
              <a:ext uri="{FF2B5EF4-FFF2-40B4-BE49-F238E27FC236}">
                <a16:creationId xmlns:a16="http://schemas.microsoft.com/office/drawing/2014/main" id="{8AED52C1-5CE6-A312-E092-62EAB87747D8}"/>
              </a:ext>
            </a:extLst>
          </p:cNvPr>
          <p:cNvSpPr txBox="1"/>
          <p:nvPr/>
        </p:nvSpPr>
        <p:spPr>
          <a:xfrm>
            <a:off x="8555954" y="1876464"/>
            <a:ext cx="2659914" cy="1384954"/>
          </a:xfrm>
          <a:prstGeom prst="rect">
            <a:avLst/>
          </a:prstGeom>
          <a:noFill/>
          <a:ln>
            <a:noFill/>
          </a:ln>
        </p:spPr>
        <p:txBody>
          <a:bodyPr spcFirstLastPara="1" wrap="square" lIns="91425" tIns="45700" rIns="91425" bIns="45700" anchor="t" anchorCtr="0">
            <a:spAutoFit/>
          </a:bodyPr>
          <a:lstStyle/>
          <a:p>
            <a:pPr marL="127000" marR="0" lvl="0" defTabSz="914400" rtl="0" eaLnBrk="1" fontAlgn="auto" latinLnBrk="0" hangingPunct="1">
              <a:lnSpc>
                <a:spcPct val="100000"/>
              </a:lnSpc>
              <a:spcBef>
                <a:spcPts val="0"/>
              </a:spcBef>
              <a:spcAft>
                <a:spcPts val="0"/>
              </a:spcAft>
              <a:buClr>
                <a:srgbClr val="000000"/>
              </a:buClr>
              <a:buSzPts val="1600"/>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Penyedia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a:ln>
                  <a:noFill/>
                </a:ln>
                <a:solidFill>
                  <a:srgbClr val="000000"/>
                </a:solidFill>
                <a:effectLst/>
                <a:uLnTx/>
                <a:uFillTx/>
                <a:latin typeface="Arial"/>
                <a:cs typeface="Arial"/>
                <a:sym typeface="Arial"/>
              </a:rPr>
              <a:t>dashboard financial advisor</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sebagai</a:t>
            </a:r>
            <a:r>
              <a:rPr kumimoji="0" lang="en-US" sz="1400" b="0" i="0" u="none" strike="noStrike" kern="0" cap="none" spc="0" normalizeH="0" baseline="0" noProof="0" dirty="0">
                <a:ln>
                  <a:noFill/>
                </a:ln>
                <a:solidFill>
                  <a:srgbClr val="000000"/>
                </a:solidFill>
                <a:effectLst/>
                <a:uLnTx/>
                <a:uFillTx/>
                <a:latin typeface="Arial"/>
                <a:cs typeface="Arial"/>
                <a:sym typeface="Arial"/>
              </a:rPr>
              <a:t> tools </a:t>
            </a:r>
            <a:r>
              <a:rPr kumimoji="0" lang="en-US" sz="1400" b="0" i="0" u="none" strike="noStrike" kern="0" cap="none" spc="0" normalizeH="0" baseline="0" noProof="0" dirty="0" err="1">
                <a:ln>
                  <a:noFill/>
                </a:ln>
                <a:solidFill>
                  <a:srgbClr val="000000"/>
                </a:solidFill>
                <a:effectLst/>
                <a:uLnTx/>
                <a:uFillTx/>
                <a:latin typeface="Arial"/>
                <a:cs typeface="Arial"/>
                <a:sym typeface="Arial"/>
              </a:rPr>
              <a:t>untuk</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rbaik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ngelola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euang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daerah</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berbasiskan</a:t>
            </a:r>
            <a:r>
              <a:rPr kumimoji="0" lang="en-US" sz="1400" b="0" i="0" u="none" strike="noStrike" kern="0" cap="none" spc="0" normalizeH="0" baseline="0" noProof="0" dirty="0">
                <a:ln>
                  <a:noFill/>
                </a:ln>
                <a:solidFill>
                  <a:srgbClr val="000000"/>
                </a:solidFill>
                <a:effectLst/>
                <a:uLnTx/>
                <a:uFillTx/>
                <a:latin typeface="Arial"/>
                <a:cs typeface="Arial"/>
                <a:sym typeface="Arial"/>
              </a:rPr>
              <a:t> data </a:t>
            </a:r>
            <a:r>
              <a:rPr kumimoji="0" lang="en-US" sz="1400" b="0" i="0" u="none" strike="noStrike" kern="0" cap="none" spc="0" normalizeH="0" baseline="0" noProof="0" dirty="0" err="1">
                <a:ln>
                  <a:noFill/>
                </a:ln>
                <a:solidFill>
                  <a:srgbClr val="000000"/>
                </a:solidFill>
                <a:effectLst/>
                <a:uLnTx/>
                <a:uFillTx/>
                <a:latin typeface="Arial"/>
                <a:cs typeface="Arial"/>
                <a:sym typeface="Arial"/>
              </a:rPr>
              <a:t>seluruh</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mprov</a:t>
            </a:r>
            <a:r>
              <a:rPr lang="en-US" sz="1400" kern="0" dirty="0">
                <a:solidFill>
                  <a:srgbClr val="000000"/>
                </a:solidFill>
                <a:latin typeface="Arial"/>
                <a:cs typeface="Arial"/>
                <a:sym typeface="Arial"/>
              </a:rPr>
              <a:t>/</a:t>
            </a:r>
            <a:r>
              <a:rPr kumimoji="0" lang="en-US" sz="1400" b="0" i="0" u="none" strike="noStrike" kern="0" cap="none" spc="0" normalizeH="0" baseline="0" noProof="0" dirty="0" err="1">
                <a:ln>
                  <a:noFill/>
                </a:ln>
                <a:solidFill>
                  <a:srgbClr val="000000"/>
                </a:solidFill>
                <a:effectLst/>
                <a:uLnTx/>
                <a:uFillTx/>
                <a:latin typeface="Arial"/>
                <a:cs typeface="Arial"/>
                <a:sym typeface="Arial"/>
              </a:rPr>
              <a:t>kab</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r>
              <a:rPr kumimoji="0" lang="en-US" sz="1400" b="0" i="0" u="none" strike="noStrike" kern="0" cap="none" spc="0" normalizeH="0" baseline="0" noProof="0" dirty="0" err="1">
                <a:ln>
                  <a:noFill/>
                </a:ln>
                <a:solidFill>
                  <a:srgbClr val="000000"/>
                </a:solidFill>
                <a:effectLst/>
                <a:uLnTx/>
                <a:uFillTx/>
                <a:latin typeface="Arial"/>
                <a:cs typeface="Arial"/>
                <a:sym typeface="Arial"/>
              </a:rPr>
              <a:t>kota</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endParaRPr kumimoji="0" sz="1050" b="0" i="0" u="none" strike="noStrike" kern="0" cap="none" spc="0" normalizeH="0" baseline="0" noProof="0" dirty="0">
              <a:ln>
                <a:noFill/>
              </a:ln>
              <a:solidFill>
                <a:srgbClr val="000000"/>
              </a:solidFill>
              <a:effectLst/>
              <a:uLnTx/>
              <a:uFillTx/>
              <a:latin typeface="Roboto"/>
              <a:ea typeface="Roboto"/>
              <a:cs typeface="Roboto"/>
              <a:sym typeface="Roboto"/>
            </a:endParaRPr>
          </a:p>
        </p:txBody>
      </p:sp>
      <p:pic>
        <p:nvPicPr>
          <p:cNvPr id="11" name="Picture 10">
            <a:hlinkClick r:id="" action="ppaction://noaction"/>
            <a:extLst>
              <a:ext uri="{FF2B5EF4-FFF2-40B4-BE49-F238E27FC236}">
                <a16:creationId xmlns:a16="http://schemas.microsoft.com/office/drawing/2014/main" id="{556EB713-970A-A0D6-2B69-F0B7B6BAAC0A}"/>
              </a:ext>
            </a:extLst>
          </p:cNvPr>
          <p:cNvPicPr>
            <a:picLocks noChangeAspect="1"/>
          </p:cNvPicPr>
          <p:nvPr/>
        </p:nvPicPr>
        <p:blipFill rotWithShape="1">
          <a:blip r:embed="rId2"/>
          <a:srcRect l="4340" t="12586" r="58503" b="57433"/>
          <a:stretch/>
        </p:blipFill>
        <p:spPr>
          <a:xfrm>
            <a:off x="3950226" y="1446526"/>
            <a:ext cx="2392704" cy="1669598"/>
          </a:xfrm>
          <a:prstGeom prst="rect">
            <a:avLst/>
          </a:prstGeom>
          <a:ln>
            <a:noFill/>
          </a:ln>
          <a:effectLst>
            <a:outerShdw blurRad="190500" algn="tl" rotWithShape="0">
              <a:srgbClr val="000000">
                <a:alpha val="70000"/>
              </a:srgbClr>
            </a:outerShdw>
          </a:effectLst>
        </p:spPr>
      </p:pic>
      <p:pic>
        <p:nvPicPr>
          <p:cNvPr id="13" name="Picture 12">
            <a:hlinkClick r:id="" action="ppaction://noaction"/>
            <a:extLst>
              <a:ext uri="{FF2B5EF4-FFF2-40B4-BE49-F238E27FC236}">
                <a16:creationId xmlns:a16="http://schemas.microsoft.com/office/drawing/2014/main" id="{0424B162-E138-A1D2-0EB0-5ADECD16BE13}"/>
              </a:ext>
            </a:extLst>
          </p:cNvPr>
          <p:cNvPicPr>
            <a:picLocks noChangeAspect="1"/>
          </p:cNvPicPr>
          <p:nvPr/>
        </p:nvPicPr>
        <p:blipFill rotWithShape="1">
          <a:blip r:embed="rId3"/>
          <a:srcRect l="5667" t="11747" r="30893" b="14260"/>
          <a:stretch/>
        </p:blipFill>
        <p:spPr>
          <a:xfrm>
            <a:off x="6746212" y="1876464"/>
            <a:ext cx="1859465" cy="1782568"/>
          </a:xfrm>
          <a:prstGeom prst="rect">
            <a:avLst/>
          </a:prstGeom>
          <a:ln>
            <a:noFill/>
          </a:ln>
          <a:effectLst>
            <a:outerShdw blurRad="190500" algn="tl" rotWithShape="0">
              <a:srgbClr val="000000">
                <a:alpha val="70000"/>
              </a:srgbClr>
            </a:outerShdw>
          </a:effectLst>
        </p:spPr>
      </p:pic>
      <p:pic>
        <p:nvPicPr>
          <p:cNvPr id="14" name="Picture 13">
            <a:hlinkClick r:id="" action="ppaction://noaction"/>
            <a:extLst>
              <a:ext uri="{FF2B5EF4-FFF2-40B4-BE49-F238E27FC236}">
                <a16:creationId xmlns:a16="http://schemas.microsoft.com/office/drawing/2014/main" id="{C0DF19B3-8074-5696-9DFD-2BFD15D38589}"/>
              </a:ext>
            </a:extLst>
          </p:cNvPr>
          <p:cNvPicPr>
            <a:picLocks noChangeAspect="1"/>
          </p:cNvPicPr>
          <p:nvPr/>
        </p:nvPicPr>
        <p:blipFill rotWithShape="1">
          <a:blip r:embed="rId4"/>
          <a:srcRect l="4734" t="30999" r="41391" b="31026"/>
          <a:stretch/>
        </p:blipFill>
        <p:spPr>
          <a:xfrm>
            <a:off x="6449607" y="4356500"/>
            <a:ext cx="2408897" cy="1508065"/>
          </a:xfrm>
          <a:prstGeom prst="rect">
            <a:avLst/>
          </a:prstGeom>
          <a:ln>
            <a:noFill/>
          </a:ln>
          <a:effectLst>
            <a:outerShdw blurRad="190500" algn="tl" rotWithShape="0">
              <a:srgbClr val="000000">
                <a:alpha val="70000"/>
              </a:srgbClr>
            </a:outerShdw>
          </a:effectLst>
        </p:spPr>
      </p:pic>
      <p:pic>
        <p:nvPicPr>
          <p:cNvPr id="17" name="Picture 16">
            <a:hlinkClick r:id="" action="ppaction://noaction"/>
            <a:extLst>
              <a:ext uri="{FF2B5EF4-FFF2-40B4-BE49-F238E27FC236}">
                <a16:creationId xmlns:a16="http://schemas.microsoft.com/office/drawing/2014/main" id="{7AB6106A-0E34-8AD2-0804-80B4432A89F3}"/>
              </a:ext>
            </a:extLst>
          </p:cNvPr>
          <p:cNvPicPr>
            <a:picLocks noChangeAspect="1"/>
          </p:cNvPicPr>
          <p:nvPr/>
        </p:nvPicPr>
        <p:blipFill rotWithShape="1">
          <a:blip r:embed="rId5"/>
          <a:srcRect l="3159" t="10245" r="36751" b="51338"/>
          <a:stretch/>
        </p:blipFill>
        <p:spPr>
          <a:xfrm>
            <a:off x="3950226" y="5336594"/>
            <a:ext cx="2005009" cy="1132886"/>
          </a:xfrm>
          <a:prstGeom prst="rect">
            <a:avLst/>
          </a:prstGeom>
        </p:spPr>
      </p:pic>
      <p:sp>
        <p:nvSpPr>
          <p:cNvPr id="19" name="TextBox 18">
            <a:extLst>
              <a:ext uri="{FF2B5EF4-FFF2-40B4-BE49-F238E27FC236}">
                <a16:creationId xmlns:a16="http://schemas.microsoft.com/office/drawing/2014/main" id="{8BE8686F-8369-EFA9-6072-E1706A032D7B}"/>
              </a:ext>
            </a:extLst>
          </p:cNvPr>
          <p:cNvSpPr txBox="1"/>
          <p:nvPr/>
        </p:nvSpPr>
        <p:spPr>
          <a:xfrm>
            <a:off x="782633" y="5316878"/>
            <a:ext cx="3158645" cy="954107"/>
          </a:xfrm>
          <a:prstGeom prst="rect">
            <a:avLst/>
          </a:prstGeom>
          <a:noFill/>
        </p:spPr>
        <p:txBody>
          <a:bodyPr wrap="square">
            <a:spAutoFit/>
          </a:bodyPr>
          <a:lstStyle/>
          <a:p>
            <a:pPr algn="r"/>
            <a:r>
              <a:rPr kumimoji="0" lang="en-US" sz="1400" b="1" i="0" u="none" strike="noStrike" kern="0" cap="none" spc="0" normalizeH="0" baseline="0" noProof="0" dirty="0">
                <a:ln>
                  <a:noFill/>
                </a:ln>
                <a:solidFill>
                  <a:srgbClr val="000000"/>
                </a:solidFill>
                <a:effectLst/>
                <a:uLnTx/>
                <a:uFillTx/>
                <a:latin typeface="Arial"/>
                <a:cs typeface="Arial"/>
                <a:sym typeface="Arial"/>
              </a:rPr>
              <a:t>Dashboard dan </a:t>
            </a:r>
            <a:r>
              <a:rPr kumimoji="0" lang="en-US" sz="1400" b="1" i="0" u="none" strike="noStrike" kern="0" cap="none" spc="0" normalizeH="0" baseline="0" noProof="0" dirty="0" err="1">
                <a:ln>
                  <a:noFill/>
                </a:ln>
                <a:solidFill>
                  <a:srgbClr val="000000"/>
                </a:solidFill>
                <a:effectLst/>
                <a:uLnTx/>
                <a:uFillTx/>
                <a:latin typeface="Arial"/>
                <a:cs typeface="Arial"/>
                <a:sym typeface="Arial"/>
              </a:rPr>
              <a:t>analisa</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err="1">
                <a:ln>
                  <a:noFill/>
                </a:ln>
                <a:solidFill>
                  <a:srgbClr val="000000"/>
                </a:solidFill>
                <a:effectLst/>
                <a:uLnTx/>
                <a:uFillTx/>
                <a:latin typeface="Arial"/>
                <a:cs typeface="Arial"/>
                <a:sym typeface="Arial"/>
              </a:rPr>
              <a:t>prediksi</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err="1">
                <a:ln>
                  <a:noFill/>
                </a:ln>
                <a:solidFill>
                  <a:srgbClr val="000000"/>
                </a:solidFill>
                <a:effectLst/>
                <a:uLnTx/>
                <a:uFillTx/>
                <a:latin typeface="Arial"/>
                <a:cs typeface="Arial"/>
                <a:sym typeface="Arial"/>
              </a:rPr>
              <a:t>serta</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err="1">
                <a:ln>
                  <a:noFill/>
                </a:ln>
                <a:solidFill>
                  <a:srgbClr val="000000"/>
                </a:solidFill>
                <a:effectLst/>
                <a:uLnTx/>
                <a:uFillTx/>
                <a:latin typeface="Arial"/>
                <a:cs typeface="Arial"/>
                <a:sym typeface="Arial"/>
              </a:rPr>
              <a:t>potensi</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err="1">
                <a:ln>
                  <a:noFill/>
                </a:ln>
                <a:solidFill>
                  <a:srgbClr val="000000"/>
                </a:solidFill>
                <a:effectLst/>
                <a:uLnTx/>
                <a:uFillTx/>
                <a:latin typeface="Arial"/>
                <a:cs typeface="Arial"/>
                <a:sym typeface="Arial"/>
              </a:rPr>
              <a:t>biaya</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err="1">
                <a:ln>
                  <a:noFill/>
                </a:ln>
                <a:solidFill>
                  <a:srgbClr val="000000"/>
                </a:solidFill>
                <a:effectLst/>
                <a:uLnTx/>
                <a:uFillTx/>
                <a:latin typeface="Arial"/>
                <a:cs typeface="Arial"/>
                <a:sym typeface="Arial"/>
              </a:rPr>
              <a:t>rekonstruksi</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err="1">
                <a:ln>
                  <a:noFill/>
                </a:ln>
                <a:solidFill>
                  <a:srgbClr val="000000"/>
                </a:solidFill>
                <a:effectLst/>
                <a:uLnTx/>
                <a:uFillTx/>
                <a:latin typeface="Arial"/>
                <a:cs typeface="Arial"/>
                <a:sym typeface="Arial"/>
              </a:rPr>
              <a:t>gedung</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rkantoran</a:t>
            </a:r>
            <a:r>
              <a:rPr kumimoji="0" lang="en-US" sz="1400" b="0" i="0" u="none" strike="noStrike" kern="0" cap="none" spc="0" normalizeH="0" baseline="0" noProof="0" dirty="0">
                <a:ln>
                  <a:noFill/>
                </a:ln>
                <a:solidFill>
                  <a:srgbClr val="000000"/>
                </a:solidFill>
                <a:effectLst/>
                <a:uLnTx/>
                <a:uFillTx/>
                <a:latin typeface="Arial"/>
                <a:cs typeface="Arial"/>
                <a:sym typeface="Arial"/>
              </a:rPr>
              <a:t> di wilayah </a:t>
            </a:r>
            <a:r>
              <a:rPr kumimoji="0" lang="en-US" sz="1400" b="1" i="0" u="none" strike="noStrike" kern="0" cap="none" spc="0" normalizeH="0" baseline="0" noProof="0" dirty="0" err="1">
                <a:ln>
                  <a:noFill/>
                </a:ln>
                <a:solidFill>
                  <a:srgbClr val="000000"/>
                </a:solidFill>
                <a:effectLst/>
                <a:uLnTx/>
                <a:uFillTx/>
                <a:latin typeface="Arial"/>
                <a:cs typeface="Arial"/>
                <a:sym typeface="Arial"/>
              </a:rPr>
              <a:t>rawan</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r>
              <a:rPr kumimoji="0" lang="en-US" sz="1400" b="1" i="0" u="none" strike="noStrike" kern="0" cap="none" spc="0" normalizeH="0" baseline="0" noProof="0" dirty="0" err="1">
                <a:ln>
                  <a:noFill/>
                </a:ln>
                <a:solidFill>
                  <a:srgbClr val="000000"/>
                </a:solidFill>
                <a:effectLst/>
                <a:uLnTx/>
                <a:uFillTx/>
                <a:latin typeface="Arial"/>
                <a:cs typeface="Arial"/>
                <a:sym typeface="Arial"/>
              </a:rPr>
              <a:t>bencana</a:t>
            </a:r>
            <a:r>
              <a:rPr kumimoji="0" lang="en-US" sz="1400" b="1" i="0" u="none" strike="noStrike" kern="0" cap="none" spc="0" normalizeH="0" baseline="0" noProof="0" dirty="0">
                <a:ln>
                  <a:noFill/>
                </a:ln>
                <a:solidFill>
                  <a:srgbClr val="000000"/>
                </a:solidFill>
                <a:effectLst/>
                <a:uLnTx/>
                <a:uFillTx/>
                <a:latin typeface="Arial"/>
                <a:cs typeface="Arial"/>
                <a:sym typeface="Arial"/>
              </a:rPr>
              <a:t> </a:t>
            </a:r>
            <a:endParaRPr lang="en-US" sz="1400" b="1" dirty="0"/>
          </a:p>
        </p:txBody>
      </p:sp>
    </p:spTree>
    <p:extLst>
      <p:ext uri="{BB962C8B-B14F-4D97-AF65-F5344CB8AC3E}">
        <p14:creationId xmlns:p14="http://schemas.microsoft.com/office/powerpoint/2010/main" val="17461948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A1A0F4-A345-4B79-ACA5-05FCEB0F04D9}"/>
              </a:ext>
            </a:extLst>
          </p:cNvPr>
          <p:cNvSpPr/>
          <p:nvPr/>
        </p:nvSpPr>
        <p:spPr>
          <a:xfrm>
            <a:off x="1206631" y="1676064"/>
            <a:ext cx="4726233" cy="4420468"/>
          </a:xfrm>
          <a:prstGeom prst="rect">
            <a:avLst/>
          </a:prstGeom>
          <a:solidFill>
            <a:srgbClr val="003465">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 Placeholder 6">
            <a:extLst>
              <a:ext uri="{FF2B5EF4-FFF2-40B4-BE49-F238E27FC236}">
                <a16:creationId xmlns:a16="http://schemas.microsoft.com/office/drawing/2014/main" id="{D9B690EC-2FEE-4316-A8F2-7726F49B6465}"/>
              </a:ext>
            </a:extLst>
          </p:cNvPr>
          <p:cNvSpPr>
            <a:spLocks noGrp="1"/>
          </p:cNvSpPr>
          <p:nvPr>
            <p:ph type="body" idx="3"/>
          </p:nvPr>
        </p:nvSpPr>
        <p:spPr>
          <a:xfrm>
            <a:off x="6238188" y="3522548"/>
            <a:ext cx="5183188" cy="823912"/>
          </a:xfrm>
        </p:spPr>
        <p:txBody>
          <a:bodyPr>
            <a:normAutofit fontScale="70000" lnSpcReduction="20000"/>
          </a:bodyPr>
          <a:lstStyle/>
          <a:p>
            <a:r>
              <a:rPr lang="en-US" sz="4000" dirty="0" err="1"/>
              <a:t>Konsep</a:t>
            </a:r>
            <a:r>
              <a:rPr lang="en-US" sz="4000" dirty="0"/>
              <a:t> Data Analytic </a:t>
            </a:r>
            <a:r>
              <a:rPr lang="en-US" sz="4000" dirty="0" err="1"/>
              <a:t>Dalam</a:t>
            </a:r>
            <a:r>
              <a:rPr lang="en-US" sz="4000" dirty="0"/>
              <a:t> </a:t>
            </a:r>
            <a:r>
              <a:rPr lang="en-US" sz="4000" dirty="0" err="1"/>
              <a:t>Pengawasan</a:t>
            </a:r>
            <a:endParaRPr lang="en-ID" dirty="0"/>
          </a:p>
        </p:txBody>
      </p:sp>
      <p:pic>
        <p:nvPicPr>
          <p:cNvPr id="9" name="Picture Placeholder 5">
            <a:extLst>
              <a:ext uri="{FF2B5EF4-FFF2-40B4-BE49-F238E27FC236}">
                <a16:creationId xmlns:a16="http://schemas.microsoft.com/office/drawing/2014/main" id="{A477ADE3-EB05-481F-8D6B-6A70718BB778}"/>
              </a:ext>
            </a:extLst>
          </p:cNvPr>
          <p:cNvPicPr>
            <a:picLocks noChangeAspect="1"/>
          </p:cNvPicPr>
          <p:nvPr/>
        </p:nvPicPr>
        <p:blipFill>
          <a:blip r:embed="rId2">
            <a:extLst>
              <a:ext uri="{BEBA8EAE-BF5A-486C-A8C5-ECC9F3942E4B}">
                <a14:imgProps xmlns:a14="http://schemas.microsoft.com/office/drawing/2010/main">
                  <a14:imgLayer r:embed="rId3">
                    <a14:imgEffect>
                      <a14:saturation sat="92000"/>
                    </a14:imgEffect>
                  </a14:imgLayer>
                </a14:imgProps>
              </a:ext>
            </a:extLst>
          </a:blip>
          <a:srcRect t="18408" b="18408"/>
          <a:stretch>
            <a:fillRect/>
          </a:stretch>
        </p:blipFill>
        <p:spPr>
          <a:xfrm>
            <a:off x="0" y="1496836"/>
            <a:ext cx="4572000" cy="4778923"/>
          </a:xfrm>
          <a:prstGeom prst="rect">
            <a:avLst/>
          </a:prstGeom>
        </p:spPr>
      </p:pic>
    </p:spTree>
    <p:extLst>
      <p:ext uri="{BB962C8B-B14F-4D97-AF65-F5344CB8AC3E}">
        <p14:creationId xmlns:p14="http://schemas.microsoft.com/office/powerpoint/2010/main" val="3982305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err="1"/>
              <a:t>Linimasa</a:t>
            </a:r>
            <a:r>
              <a:rPr lang="en-US" dirty="0"/>
              <a:t> </a:t>
            </a:r>
            <a:r>
              <a:rPr lang="en-US" dirty="0" err="1"/>
              <a:t>Penting</a:t>
            </a:r>
            <a:r>
              <a:rPr lang="en-US" dirty="0"/>
              <a:t> </a:t>
            </a:r>
            <a:r>
              <a:rPr lang="en-US" dirty="0" err="1"/>
              <a:t>Pengembangan</a:t>
            </a:r>
            <a:r>
              <a:rPr lang="en-US" dirty="0"/>
              <a:t> DA &amp; IT Auditing</a:t>
            </a:r>
          </a:p>
        </p:txBody>
      </p:sp>
      <p:grpSp>
        <p:nvGrpSpPr>
          <p:cNvPr id="7" name="Group 6">
            <a:extLst>
              <a:ext uri="{FF2B5EF4-FFF2-40B4-BE49-F238E27FC236}">
                <a16:creationId xmlns:a16="http://schemas.microsoft.com/office/drawing/2014/main" id="{4C9BC497-F647-44F8-8EEE-FC8120AC0E8B}"/>
              </a:ext>
            </a:extLst>
          </p:cNvPr>
          <p:cNvGrpSpPr/>
          <p:nvPr/>
        </p:nvGrpSpPr>
        <p:grpSpPr>
          <a:xfrm>
            <a:off x="924604" y="1439135"/>
            <a:ext cx="10387548" cy="4486523"/>
            <a:chOff x="924604" y="1439135"/>
            <a:chExt cx="10387548" cy="4486523"/>
          </a:xfrm>
        </p:grpSpPr>
        <p:sp>
          <p:nvSpPr>
            <p:cNvPr id="8" name="Rectangle: Rounded Corners 7">
              <a:extLst>
                <a:ext uri="{FF2B5EF4-FFF2-40B4-BE49-F238E27FC236}">
                  <a16:creationId xmlns:a16="http://schemas.microsoft.com/office/drawing/2014/main" id="{16C0BC32-5098-4985-BCBF-399B477A1207}"/>
                </a:ext>
              </a:extLst>
            </p:cNvPr>
            <p:cNvSpPr/>
            <p:nvPr/>
          </p:nvSpPr>
          <p:spPr>
            <a:xfrm>
              <a:off x="981754" y="1592887"/>
              <a:ext cx="10330398" cy="2390885"/>
            </a:xfrm>
            <a:prstGeom prst="roundRect">
              <a:avLst>
                <a:gd name="adj" fmla="val 38960"/>
              </a:avLst>
            </a:prstGeom>
            <a:noFill/>
            <a:ln w="984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Rectangle 8">
              <a:extLst>
                <a:ext uri="{FF2B5EF4-FFF2-40B4-BE49-F238E27FC236}">
                  <a16:creationId xmlns:a16="http://schemas.microsoft.com/office/drawing/2014/main" id="{8A8654DD-DE63-437E-BB0A-9445098D4239}"/>
                </a:ext>
              </a:extLst>
            </p:cNvPr>
            <p:cNvSpPr/>
            <p:nvPr/>
          </p:nvSpPr>
          <p:spPr>
            <a:xfrm>
              <a:off x="924604" y="1439135"/>
              <a:ext cx="1109697" cy="2732716"/>
            </a:xfrm>
            <a:prstGeom prst="rect">
              <a:avLst/>
            </a:prstGeom>
            <a:solidFill>
              <a:srgbClr val="F0F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Google Shape;464;p28">
              <a:extLst>
                <a:ext uri="{FF2B5EF4-FFF2-40B4-BE49-F238E27FC236}">
                  <a16:creationId xmlns:a16="http://schemas.microsoft.com/office/drawing/2014/main" id="{118C7C85-E1F2-44AB-9022-CFB43E962FBC}"/>
                </a:ext>
              </a:extLst>
            </p:cNvPr>
            <p:cNvSpPr/>
            <p:nvPr/>
          </p:nvSpPr>
          <p:spPr>
            <a:xfrm>
              <a:off x="1540349" y="1910582"/>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469;p28">
              <a:extLst>
                <a:ext uri="{FF2B5EF4-FFF2-40B4-BE49-F238E27FC236}">
                  <a16:creationId xmlns:a16="http://schemas.microsoft.com/office/drawing/2014/main" id="{168D9980-D925-4AA8-8AC5-90CA33DEFA74}"/>
                </a:ext>
              </a:extLst>
            </p:cNvPr>
            <p:cNvSpPr/>
            <p:nvPr/>
          </p:nvSpPr>
          <p:spPr>
            <a:xfrm>
              <a:off x="1516246" y="1884245"/>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497;p28">
              <a:extLst>
                <a:ext uri="{FF2B5EF4-FFF2-40B4-BE49-F238E27FC236}">
                  <a16:creationId xmlns:a16="http://schemas.microsoft.com/office/drawing/2014/main" id="{824E1A30-D6FB-4353-AB01-D6B571A2822A}"/>
                </a:ext>
              </a:extLst>
            </p:cNvPr>
            <p:cNvSpPr txBox="1"/>
            <p:nvPr/>
          </p:nvSpPr>
          <p:spPr>
            <a:xfrm>
              <a:off x="1275607" y="2566575"/>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07</a:t>
              </a:r>
              <a:endParaRPr sz="1600" dirty="0">
                <a:solidFill>
                  <a:schemeClr val="accent4"/>
                </a:solidFill>
                <a:latin typeface="Source Code Pro Black"/>
                <a:ea typeface="Source Code Pro Black"/>
                <a:cs typeface="Source Code Pro Black"/>
                <a:sym typeface="Source Code Pro Black"/>
              </a:endParaRPr>
            </a:p>
          </p:txBody>
        </p:sp>
        <p:sp>
          <p:nvSpPr>
            <p:cNvPr id="13" name="Google Shape;502;p28">
              <a:extLst>
                <a:ext uri="{FF2B5EF4-FFF2-40B4-BE49-F238E27FC236}">
                  <a16:creationId xmlns:a16="http://schemas.microsoft.com/office/drawing/2014/main" id="{DA036701-23AA-4C3A-949C-E2AE1EAC90C3}"/>
                </a:ext>
              </a:extLst>
            </p:cNvPr>
            <p:cNvSpPr txBox="1">
              <a:spLocks/>
            </p:cNvSpPr>
            <p:nvPr/>
          </p:nvSpPr>
          <p:spPr>
            <a:xfrm>
              <a:off x="1198043" y="2634570"/>
              <a:ext cx="1472574" cy="751124"/>
            </a:xfrm>
            <a:prstGeom prst="rect">
              <a:avLst/>
            </a:prstGeom>
          </p:spPr>
          <p:txBody>
            <a:bodyPr spcFirstLastPara="1" vert="horz" wrap="square" lIns="91425" tIns="91425" rIns="91425" bIns="91425"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ID" sz="1400" b="1" dirty="0" err="1"/>
                <a:t>Pemanfaatan</a:t>
              </a:r>
              <a:r>
                <a:rPr lang="en-ID" sz="1400" b="1" dirty="0"/>
                <a:t> tools TABK - ACL</a:t>
              </a:r>
            </a:p>
          </p:txBody>
        </p:sp>
        <p:sp>
          <p:nvSpPr>
            <p:cNvPr id="14" name="Google Shape;596;p17">
              <a:extLst>
                <a:ext uri="{FF2B5EF4-FFF2-40B4-BE49-F238E27FC236}">
                  <a16:creationId xmlns:a16="http://schemas.microsoft.com/office/drawing/2014/main" id="{28AF8C53-FEEA-4F01-9299-731867010E02}"/>
                </a:ext>
              </a:extLst>
            </p:cNvPr>
            <p:cNvSpPr txBox="1">
              <a:spLocks/>
            </p:cNvSpPr>
            <p:nvPr/>
          </p:nvSpPr>
          <p:spPr>
            <a:xfrm>
              <a:off x="9497430" y="5390895"/>
              <a:ext cx="456900" cy="4686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b="1" smtClean="0">
                  <a:solidFill>
                    <a:schemeClr val="bg1"/>
                  </a:solidFill>
                </a:rPr>
                <a:pPr algn="r"/>
                <a:t>14</a:t>
              </a:fld>
              <a:endParaRPr lang="en" b="1" dirty="0">
                <a:solidFill>
                  <a:schemeClr val="bg1"/>
                </a:solidFill>
              </a:endParaRPr>
            </a:p>
          </p:txBody>
        </p:sp>
        <p:sp>
          <p:nvSpPr>
            <p:cNvPr id="15" name="Google Shape;451;p28">
              <a:extLst>
                <a:ext uri="{FF2B5EF4-FFF2-40B4-BE49-F238E27FC236}">
                  <a16:creationId xmlns:a16="http://schemas.microsoft.com/office/drawing/2014/main" id="{A1F1C194-DEA3-4688-BDC4-0BE13B8C49BA}"/>
                </a:ext>
              </a:extLst>
            </p:cNvPr>
            <p:cNvSpPr/>
            <p:nvPr/>
          </p:nvSpPr>
          <p:spPr>
            <a:xfrm>
              <a:off x="1808203" y="1483905"/>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6" name="Google Shape;452;p28">
              <a:extLst>
                <a:ext uri="{FF2B5EF4-FFF2-40B4-BE49-F238E27FC236}">
                  <a16:creationId xmlns:a16="http://schemas.microsoft.com/office/drawing/2014/main" id="{E9F463B1-8396-419A-82A3-B2390FBA9CDA}"/>
                </a:ext>
              </a:extLst>
            </p:cNvPr>
            <p:cNvSpPr/>
            <p:nvPr/>
          </p:nvSpPr>
          <p:spPr>
            <a:xfrm>
              <a:off x="1907968" y="1729696"/>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7" name="Google Shape;453;p28">
              <a:extLst>
                <a:ext uri="{FF2B5EF4-FFF2-40B4-BE49-F238E27FC236}">
                  <a16:creationId xmlns:a16="http://schemas.microsoft.com/office/drawing/2014/main" id="{97725FFD-F56D-4F5E-9AA9-46D50EB126D5}"/>
                </a:ext>
              </a:extLst>
            </p:cNvPr>
            <p:cNvSpPr/>
            <p:nvPr/>
          </p:nvSpPr>
          <p:spPr>
            <a:xfrm>
              <a:off x="1871292" y="1564657"/>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18" name="Google Shape;464;p28">
              <a:extLst>
                <a:ext uri="{FF2B5EF4-FFF2-40B4-BE49-F238E27FC236}">
                  <a16:creationId xmlns:a16="http://schemas.microsoft.com/office/drawing/2014/main" id="{A429207C-86F1-4FEF-9B79-E7F3A2F33874}"/>
                </a:ext>
              </a:extLst>
            </p:cNvPr>
            <p:cNvSpPr/>
            <p:nvPr/>
          </p:nvSpPr>
          <p:spPr>
            <a:xfrm>
              <a:off x="3341363" y="1915013"/>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69;p28">
              <a:extLst>
                <a:ext uri="{FF2B5EF4-FFF2-40B4-BE49-F238E27FC236}">
                  <a16:creationId xmlns:a16="http://schemas.microsoft.com/office/drawing/2014/main" id="{B6347CA2-7EBD-4EB0-9BF1-729D041883C7}"/>
                </a:ext>
              </a:extLst>
            </p:cNvPr>
            <p:cNvSpPr/>
            <p:nvPr/>
          </p:nvSpPr>
          <p:spPr>
            <a:xfrm>
              <a:off x="3317260" y="1888676"/>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7;p28">
              <a:extLst>
                <a:ext uri="{FF2B5EF4-FFF2-40B4-BE49-F238E27FC236}">
                  <a16:creationId xmlns:a16="http://schemas.microsoft.com/office/drawing/2014/main" id="{4D09D19F-62AE-4B99-975C-8E1180B24E6C}"/>
                </a:ext>
              </a:extLst>
            </p:cNvPr>
            <p:cNvSpPr txBox="1"/>
            <p:nvPr/>
          </p:nvSpPr>
          <p:spPr>
            <a:xfrm>
              <a:off x="3076621" y="2571006"/>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10</a:t>
              </a:r>
              <a:endParaRPr sz="1600" dirty="0">
                <a:solidFill>
                  <a:schemeClr val="accent4"/>
                </a:solidFill>
                <a:latin typeface="Source Code Pro Black"/>
                <a:ea typeface="Source Code Pro Black"/>
                <a:cs typeface="Source Code Pro Black"/>
                <a:sym typeface="Source Code Pro Black"/>
              </a:endParaRPr>
            </a:p>
          </p:txBody>
        </p:sp>
        <p:sp>
          <p:nvSpPr>
            <p:cNvPr id="21" name="Google Shape;502;p28">
              <a:extLst>
                <a:ext uri="{FF2B5EF4-FFF2-40B4-BE49-F238E27FC236}">
                  <a16:creationId xmlns:a16="http://schemas.microsoft.com/office/drawing/2014/main" id="{61FFF754-A072-4863-AD08-798F9F59C6B8}"/>
                </a:ext>
              </a:extLst>
            </p:cNvPr>
            <p:cNvSpPr txBox="1">
              <a:spLocks/>
            </p:cNvSpPr>
            <p:nvPr/>
          </p:nvSpPr>
          <p:spPr>
            <a:xfrm>
              <a:off x="2767681" y="2750358"/>
              <a:ext cx="1943304" cy="7511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0" indent="0" algn="ctr">
                <a:buNone/>
              </a:pPr>
              <a:r>
                <a:rPr lang="en-US" sz="1100" dirty="0" err="1"/>
                <a:t>Pemanfaatan</a:t>
              </a:r>
              <a:r>
                <a:rPr lang="en-US" sz="1100" dirty="0"/>
                <a:t> AMS Modul </a:t>
              </a:r>
            </a:p>
            <a:p>
              <a:pPr marL="0" indent="0" algn="ctr">
                <a:buNone/>
              </a:pPr>
              <a:r>
                <a:rPr lang="en-US" sz="1100" i="1" dirty="0"/>
                <a:t>Electronic</a:t>
              </a:r>
              <a:r>
                <a:rPr lang="en-US" sz="1100" dirty="0"/>
                <a:t> </a:t>
              </a:r>
              <a:r>
                <a:rPr lang="en-US" sz="1100" i="1" dirty="0"/>
                <a:t>Working</a:t>
              </a:r>
              <a:r>
                <a:rPr lang="en-US" sz="1100" dirty="0"/>
                <a:t> </a:t>
              </a:r>
              <a:r>
                <a:rPr lang="en-US" sz="1100" i="1" dirty="0"/>
                <a:t>Paper</a:t>
              </a:r>
              <a:r>
                <a:rPr lang="en-US" sz="1100" dirty="0"/>
                <a:t> (Desktop)</a:t>
              </a:r>
            </a:p>
            <a:p>
              <a:pPr marL="0" indent="0" algn="ctr">
                <a:buFont typeface="Roboto"/>
                <a:buNone/>
              </a:pPr>
              <a:endParaRPr lang="en-ID" sz="1100" dirty="0"/>
            </a:p>
          </p:txBody>
        </p:sp>
        <p:sp>
          <p:nvSpPr>
            <p:cNvPr id="22" name="Google Shape;451;p28">
              <a:extLst>
                <a:ext uri="{FF2B5EF4-FFF2-40B4-BE49-F238E27FC236}">
                  <a16:creationId xmlns:a16="http://schemas.microsoft.com/office/drawing/2014/main" id="{39C138E0-03EE-4E97-92E9-A7B3AAA5541D}"/>
                </a:ext>
              </a:extLst>
            </p:cNvPr>
            <p:cNvSpPr/>
            <p:nvPr/>
          </p:nvSpPr>
          <p:spPr>
            <a:xfrm>
              <a:off x="3609217" y="1488336"/>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3" name="Google Shape;452;p28">
              <a:extLst>
                <a:ext uri="{FF2B5EF4-FFF2-40B4-BE49-F238E27FC236}">
                  <a16:creationId xmlns:a16="http://schemas.microsoft.com/office/drawing/2014/main" id="{129972A6-13DC-4425-A433-D3FCDAFDD48F}"/>
                </a:ext>
              </a:extLst>
            </p:cNvPr>
            <p:cNvSpPr/>
            <p:nvPr/>
          </p:nvSpPr>
          <p:spPr>
            <a:xfrm>
              <a:off x="3708982" y="1734127"/>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4" name="Google Shape;453;p28">
              <a:extLst>
                <a:ext uri="{FF2B5EF4-FFF2-40B4-BE49-F238E27FC236}">
                  <a16:creationId xmlns:a16="http://schemas.microsoft.com/office/drawing/2014/main" id="{3DAA378F-2BF6-47AD-95C4-DDF816CDB36D}"/>
                </a:ext>
              </a:extLst>
            </p:cNvPr>
            <p:cNvSpPr/>
            <p:nvPr/>
          </p:nvSpPr>
          <p:spPr>
            <a:xfrm>
              <a:off x="3672306" y="1569088"/>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25" name="Google Shape;464;p28">
              <a:extLst>
                <a:ext uri="{FF2B5EF4-FFF2-40B4-BE49-F238E27FC236}">
                  <a16:creationId xmlns:a16="http://schemas.microsoft.com/office/drawing/2014/main" id="{25827F66-E9DD-407D-898B-46357CA07613}"/>
                </a:ext>
              </a:extLst>
            </p:cNvPr>
            <p:cNvSpPr/>
            <p:nvPr/>
          </p:nvSpPr>
          <p:spPr>
            <a:xfrm>
              <a:off x="5431007" y="1920009"/>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69;p28">
              <a:extLst>
                <a:ext uri="{FF2B5EF4-FFF2-40B4-BE49-F238E27FC236}">
                  <a16:creationId xmlns:a16="http://schemas.microsoft.com/office/drawing/2014/main" id="{AAF3508B-15AA-45F8-BE36-C13C792F29A1}"/>
                </a:ext>
              </a:extLst>
            </p:cNvPr>
            <p:cNvSpPr/>
            <p:nvPr/>
          </p:nvSpPr>
          <p:spPr>
            <a:xfrm>
              <a:off x="5406904" y="1893672"/>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7;p28">
              <a:extLst>
                <a:ext uri="{FF2B5EF4-FFF2-40B4-BE49-F238E27FC236}">
                  <a16:creationId xmlns:a16="http://schemas.microsoft.com/office/drawing/2014/main" id="{063FD199-6839-424C-8376-E19CC0FBB8BE}"/>
                </a:ext>
              </a:extLst>
            </p:cNvPr>
            <p:cNvSpPr txBox="1"/>
            <p:nvPr/>
          </p:nvSpPr>
          <p:spPr>
            <a:xfrm>
              <a:off x="5166265" y="2576002"/>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14</a:t>
              </a:r>
              <a:endParaRPr sz="1600" dirty="0">
                <a:solidFill>
                  <a:schemeClr val="accent4"/>
                </a:solidFill>
                <a:latin typeface="Source Code Pro Black"/>
                <a:ea typeface="Source Code Pro Black"/>
                <a:cs typeface="Source Code Pro Black"/>
                <a:sym typeface="Source Code Pro Black"/>
              </a:endParaRPr>
            </a:p>
          </p:txBody>
        </p:sp>
        <p:sp>
          <p:nvSpPr>
            <p:cNvPr id="28" name="Google Shape;502;p28">
              <a:extLst>
                <a:ext uri="{FF2B5EF4-FFF2-40B4-BE49-F238E27FC236}">
                  <a16:creationId xmlns:a16="http://schemas.microsoft.com/office/drawing/2014/main" id="{F830E46C-9C0D-497E-8F03-298572011F68}"/>
                </a:ext>
              </a:extLst>
            </p:cNvPr>
            <p:cNvSpPr txBox="1">
              <a:spLocks/>
            </p:cNvSpPr>
            <p:nvPr/>
          </p:nvSpPr>
          <p:spPr>
            <a:xfrm>
              <a:off x="4878850" y="2743382"/>
              <a:ext cx="1943013" cy="7511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171450" indent="-171450">
                <a:buFont typeface="Arial" panose="020B0604020202020204" pitchFamily="34" charset="0"/>
                <a:buChar char="•"/>
              </a:pPr>
              <a:r>
                <a:rPr lang="en-ID" sz="1100" b="1" dirty="0" err="1">
                  <a:solidFill>
                    <a:schemeClr val="tx1"/>
                  </a:solidFill>
                </a:rPr>
                <a:t>Penyusunan</a:t>
              </a:r>
              <a:r>
                <a:rPr lang="en-ID" sz="1100" b="1" dirty="0">
                  <a:solidFill>
                    <a:schemeClr val="tx1"/>
                  </a:solidFill>
                </a:rPr>
                <a:t> </a:t>
              </a:r>
              <a:r>
                <a:rPr lang="en-ID" sz="1100" b="1" i="1" dirty="0">
                  <a:solidFill>
                    <a:schemeClr val="tx1"/>
                  </a:solidFill>
                </a:rPr>
                <a:t>Roadmap</a:t>
              </a:r>
              <a:r>
                <a:rPr lang="en-ID" sz="1100" b="1" dirty="0">
                  <a:solidFill>
                    <a:schemeClr val="tx1"/>
                  </a:solidFill>
                </a:rPr>
                <a:t> TABK </a:t>
              </a:r>
              <a:r>
                <a:rPr lang="en-ID" sz="1100" b="1" dirty="0" err="1">
                  <a:solidFill>
                    <a:schemeClr val="tx1"/>
                  </a:solidFill>
                </a:rPr>
                <a:t>menuju</a:t>
              </a:r>
              <a:r>
                <a:rPr lang="en-ID" sz="1100" b="1" dirty="0">
                  <a:solidFill>
                    <a:schemeClr val="tx1"/>
                  </a:solidFill>
                </a:rPr>
                <a:t> </a:t>
              </a:r>
              <a:r>
                <a:rPr lang="en-ID" sz="1100" b="1" i="1" dirty="0">
                  <a:solidFill>
                    <a:schemeClr val="tx1"/>
                  </a:solidFill>
                </a:rPr>
                <a:t>CA</a:t>
              </a:r>
            </a:p>
            <a:p>
              <a:pPr marL="171450" indent="-171450">
                <a:buFont typeface="Arial" panose="020B0604020202020204" pitchFamily="34" charset="0"/>
                <a:buChar char="•"/>
              </a:pPr>
              <a:r>
                <a:rPr lang="en-ID" sz="1100" dirty="0" err="1"/>
                <a:t>Pendirian</a:t>
              </a:r>
              <a:r>
                <a:rPr lang="en-ID" sz="1100" dirty="0"/>
                <a:t> unit Audit TI</a:t>
              </a:r>
            </a:p>
            <a:p>
              <a:pPr marL="0" indent="0">
                <a:buFont typeface="Roboto"/>
                <a:buNone/>
              </a:pPr>
              <a:endParaRPr lang="en-ID" sz="1100" dirty="0"/>
            </a:p>
          </p:txBody>
        </p:sp>
        <p:sp>
          <p:nvSpPr>
            <p:cNvPr id="29" name="Google Shape;451;p28">
              <a:extLst>
                <a:ext uri="{FF2B5EF4-FFF2-40B4-BE49-F238E27FC236}">
                  <a16:creationId xmlns:a16="http://schemas.microsoft.com/office/drawing/2014/main" id="{777F26AA-1118-4371-AF8E-F69CCACCAD0D}"/>
                </a:ext>
              </a:extLst>
            </p:cNvPr>
            <p:cNvSpPr/>
            <p:nvPr/>
          </p:nvSpPr>
          <p:spPr>
            <a:xfrm>
              <a:off x="5698861" y="1493332"/>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0" name="Google Shape;452;p28">
              <a:extLst>
                <a:ext uri="{FF2B5EF4-FFF2-40B4-BE49-F238E27FC236}">
                  <a16:creationId xmlns:a16="http://schemas.microsoft.com/office/drawing/2014/main" id="{D4C63858-6B62-4538-8410-0C8548EEE95D}"/>
                </a:ext>
              </a:extLst>
            </p:cNvPr>
            <p:cNvSpPr/>
            <p:nvPr/>
          </p:nvSpPr>
          <p:spPr>
            <a:xfrm>
              <a:off x="5798626" y="1739123"/>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1" name="Google Shape;453;p28">
              <a:extLst>
                <a:ext uri="{FF2B5EF4-FFF2-40B4-BE49-F238E27FC236}">
                  <a16:creationId xmlns:a16="http://schemas.microsoft.com/office/drawing/2014/main" id="{CD10907C-2F3B-42D7-937C-CF43634DBF1C}"/>
                </a:ext>
              </a:extLst>
            </p:cNvPr>
            <p:cNvSpPr/>
            <p:nvPr/>
          </p:nvSpPr>
          <p:spPr>
            <a:xfrm>
              <a:off x="5761950" y="1574084"/>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32" name="Google Shape;464;p28">
              <a:extLst>
                <a:ext uri="{FF2B5EF4-FFF2-40B4-BE49-F238E27FC236}">
                  <a16:creationId xmlns:a16="http://schemas.microsoft.com/office/drawing/2014/main" id="{1705C0CD-4247-4D9A-987E-0660DA685FEE}"/>
                </a:ext>
              </a:extLst>
            </p:cNvPr>
            <p:cNvSpPr/>
            <p:nvPr/>
          </p:nvSpPr>
          <p:spPr>
            <a:xfrm>
              <a:off x="7444880" y="1923142"/>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69;p28">
              <a:extLst>
                <a:ext uri="{FF2B5EF4-FFF2-40B4-BE49-F238E27FC236}">
                  <a16:creationId xmlns:a16="http://schemas.microsoft.com/office/drawing/2014/main" id="{95B2A729-9E28-4712-9355-425BC6CAD0B8}"/>
                </a:ext>
              </a:extLst>
            </p:cNvPr>
            <p:cNvSpPr/>
            <p:nvPr/>
          </p:nvSpPr>
          <p:spPr>
            <a:xfrm>
              <a:off x="7420777" y="1896805"/>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97;p28">
              <a:extLst>
                <a:ext uri="{FF2B5EF4-FFF2-40B4-BE49-F238E27FC236}">
                  <a16:creationId xmlns:a16="http://schemas.microsoft.com/office/drawing/2014/main" id="{F0988697-B973-4A99-BBF0-152F9D789D30}"/>
                </a:ext>
              </a:extLst>
            </p:cNvPr>
            <p:cNvSpPr txBox="1"/>
            <p:nvPr/>
          </p:nvSpPr>
          <p:spPr>
            <a:xfrm>
              <a:off x="7180138" y="2579135"/>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16</a:t>
              </a:r>
              <a:endParaRPr sz="1600" dirty="0">
                <a:solidFill>
                  <a:schemeClr val="accent4"/>
                </a:solidFill>
                <a:latin typeface="Source Code Pro Black"/>
                <a:ea typeface="Source Code Pro Black"/>
                <a:cs typeface="Source Code Pro Black"/>
                <a:sym typeface="Source Code Pro Black"/>
              </a:endParaRPr>
            </a:p>
          </p:txBody>
        </p:sp>
        <p:sp>
          <p:nvSpPr>
            <p:cNvPr id="35" name="Google Shape;502;p28">
              <a:extLst>
                <a:ext uri="{FF2B5EF4-FFF2-40B4-BE49-F238E27FC236}">
                  <a16:creationId xmlns:a16="http://schemas.microsoft.com/office/drawing/2014/main" id="{64290435-9E2B-412E-9D94-478B1836C43A}"/>
                </a:ext>
              </a:extLst>
            </p:cNvPr>
            <p:cNvSpPr txBox="1">
              <a:spLocks/>
            </p:cNvSpPr>
            <p:nvPr/>
          </p:nvSpPr>
          <p:spPr>
            <a:xfrm>
              <a:off x="7000919" y="2752581"/>
              <a:ext cx="1872761" cy="7511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0" indent="0" algn="ctr">
                <a:buNone/>
              </a:pPr>
              <a:r>
                <a:rPr lang="en-ID" sz="1100" dirty="0" err="1"/>
                <a:t>Pemanfaatan</a:t>
              </a:r>
              <a:r>
                <a:rPr lang="en-ID" sz="1100" dirty="0"/>
                <a:t> AMS Modul </a:t>
              </a:r>
              <a:r>
                <a:rPr lang="en-ID" sz="1100" i="1" dirty="0" err="1"/>
                <a:t>Teamcentral</a:t>
              </a:r>
              <a:r>
                <a:rPr lang="en-ID" sz="1100" dirty="0"/>
                <a:t> - monitoring TL </a:t>
              </a:r>
              <a:r>
                <a:rPr lang="en-ID" sz="1100" dirty="0" err="1"/>
                <a:t>rekomendasi</a:t>
              </a:r>
              <a:endParaRPr lang="en-ID" sz="1100" dirty="0"/>
            </a:p>
            <a:p>
              <a:pPr marL="0" indent="0" algn="ctr">
                <a:buFont typeface="Roboto"/>
                <a:buNone/>
              </a:pPr>
              <a:endParaRPr lang="en-ID" sz="1100" dirty="0"/>
            </a:p>
          </p:txBody>
        </p:sp>
        <p:sp>
          <p:nvSpPr>
            <p:cNvPr id="36" name="Google Shape;451;p28">
              <a:extLst>
                <a:ext uri="{FF2B5EF4-FFF2-40B4-BE49-F238E27FC236}">
                  <a16:creationId xmlns:a16="http://schemas.microsoft.com/office/drawing/2014/main" id="{F23F06D4-B93D-4D74-B3A4-399FF38AC23F}"/>
                </a:ext>
              </a:extLst>
            </p:cNvPr>
            <p:cNvSpPr/>
            <p:nvPr/>
          </p:nvSpPr>
          <p:spPr>
            <a:xfrm>
              <a:off x="7712734" y="1496465"/>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7" name="Google Shape;452;p28">
              <a:extLst>
                <a:ext uri="{FF2B5EF4-FFF2-40B4-BE49-F238E27FC236}">
                  <a16:creationId xmlns:a16="http://schemas.microsoft.com/office/drawing/2014/main" id="{63F751E1-B1D7-4CD8-A07F-AEB4DD6D654D}"/>
                </a:ext>
              </a:extLst>
            </p:cNvPr>
            <p:cNvSpPr/>
            <p:nvPr/>
          </p:nvSpPr>
          <p:spPr>
            <a:xfrm>
              <a:off x="7812499" y="1742256"/>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8" name="Google Shape;453;p28">
              <a:extLst>
                <a:ext uri="{FF2B5EF4-FFF2-40B4-BE49-F238E27FC236}">
                  <a16:creationId xmlns:a16="http://schemas.microsoft.com/office/drawing/2014/main" id="{7467EE2C-8A77-4653-A6BE-9339CA72DACC}"/>
                </a:ext>
              </a:extLst>
            </p:cNvPr>
            <p:cNvSpPr/>
            <p:nvPr/>
          </p:nvSpPr>
          <p:spPr>
            <a:xfrm>
              <a:off x="7775823" y="1577217"/>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39" name="Google Shape;464;p28">
              <a:extLst>
                <a:ext uri="{FF2B5EF4-FFF2-40B4-BE49-F238E27FC236}">
                  <a16:creationId xmlns:a16="http://schemas.microsoft.com/office/drawing/2014/main" id="{FDC37BD2-11AB-468B-8C12-84F6E298C589}"/>
                </a:ext>
              </a:extLst>
            </p:cNvPr>
            <p:cNvSpPr/>
            <p:nvPr/>
          </p:nvSpPr>
          <p:spPr>
            <a:xfrm>
              <a:off x="9602488" y="1915013"/>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69;p28">
              <a:extLst>
                <a:ext uri="{FF2B5EF4-FFF2-40B4-BE49-F238E27FC236}">
                  <a16:creationId xmlns:a16="http://schemas.microsoft.com/office/drawing/2014/main" id="{FB8A6ECB-E7CB-49A0-A89C-16A110152771}"/>
                </a:ext>
              </a:extLst>
            </p:cNvPr>
            <p:cNvSpPr/>
            <p:nvPr/>
          </p:nvSpPr>
          <p:spPr>
            <a:xfrm>
              <a:off x="9578385" y="1888676"/>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97;p28">
              <a:extLst>
                <a:ext uri="{FF2B5EF4-FFF2-40B4-BE49-F238E27FC236}">
                  <a16:creationId xmlns:a16="http://schemas.microsoft.com/office/drawing/2014/main" id="{F0D85F56-6FD9-43BA-B6C8-798CAF3822B9}"/>
                </a:ext>
              </a:extLst>
            </p:cNvPr>
            <p:cNvSpPr txBox="1"/>
            <p:nvPr/>
          </p:nvSpPr>
          <p:spPr>
            <a:xfrm>
              <a:off x="9337746" y="2571006"/>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17</a:t>
              </a:r>
              <a:endParaRPr sz="1600" dirty="0">
                <a:solidFill>
                  <a:schemeClr val="accent4"/>
                </a:solidFill>
                <a:latin typeface="Source Code Pro Black"/>
                <a:ea typeface="Source Code Pro Black"/>
                <a:cs typeface="Source Code Pro Black"/>
                <a:sym typeface="Source Code Pro Black"/>
              </a:endParaRPr>
            </a:p>
          </p:txBody>
        </p:sp>
        <p:sp>
          <p:nvSpPr>
            <p:cNvPr id="42" name="Google Shape;502;p28">
              <a:extLst>
                <a:ext uri="{FF2B5EF4-FFF2-40B4-BE49-F238E27FC236}">
                  <a16:creationId xmlns:a16="http://schemas.microsoft.com/office/drawing/2014/main" id="{1CE1F28E-114D-4C4B-B4D8-E3BF7FE8D049}"/>
                </a:ext>
              </a:extLst>
            </p:cNvPr>
            <p:cNvSpPr txBox="1">
              <a:spLocks/>
            </p:cNvSpPr>
            <p:nvPr/>
          </p:nvSpPr>
          <p:spPr>
            <a:xfrm>
              <a:off x="9147059" y="2733266"/>
              <a:ext cx="1788259" cy="7511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171450" indent="-171450">
                <a:buFont typeface="Arial" panose="020B0604020202020204" pitchFamily="34" charset="0"/>
                <a:buChar char="•"/>
              </a:pPr>
              <a:r>
                <a:rPr lang="en-ID" sz="1100" dirty="0" err="1"/>
                <a:t>Penyusunan</a:t>
              </a:r>
              <a:r>
                <a:rPr lang="en-ID" sz="1100" dirty="0"/>
                <a:t> </a:t>
              </a:r>
              <a:r>
                <a:rPr lang="en-ID" sz="1100" i="1" dirty="0"/>
                <a:t>Roadmap</a:t>
              </a:r>
              <a:r>
                <a:rPr lang="en-ID" sz="1100" dirty="0"/>
                <a:t> &amp; </a:t>
              </a:r>
              <a:r>
                <a:rPr lang="en-ID" sz="1100" dirty="0" err="1"/>
                <a:t>Pedoman</a:t>
              </a:r>
              <a:r>
                <a:rPr lang="en-ID" sz="1100" dirty="0"/>
                <a:t> Audit TIK</a:t>
              </a:r>
            </a:p>
            <a:p>
              <a:pPr marL="171450" indent="-171450">
                <a:buFont typeface="Arial" panose="020B0604020202020204" pitchFamily="34" charset="0"/>
                <a:buChar char="•"/>
              </a:pPr>
              <a:r>
                <a:rPr lang="en-ID" sz="1200" b="1" dirty="0" err="1">
                  <a:solidFill>
                    <a:schemeClr val="tx1"/>
                  </a:solidFill>
                </a:rPr>
                <a:t>Inisiasi</a:t>
              </a:r>
              <a:r>
                <a:rPr lang="en-ID" sz="1200" b="1" dirty="0">
                  <a:solidFill>
                    <a:schemeClr val="tx1"/>
                  </a:solidFill>
                </a:rPr>
                <a:t> </a:t>
              </a:r>
              <a:r>
                <a:rPr lang="en-ID" sz="1200" b="1" i="1" dirty="0">
                  <a:solidFill>
                    <a:schemeClr val="tx1"/>
                  </a:solidFill>
                </a:rPr>
                <a:t>Continuous</a:t>
              </a:r>
              <a:r>
                <a:rPr lang="en-ID" sz="1200" b="1" dirty="0">
                  <a:solidFill>
                    <a:schemeClr val="tx1"/>
                  </a:solidFill>
                </a:rPr>
                <a:t> </a:t>
              </a:r>
              <a:r>
                <a:rPr lang="en-ID" sz="1200" b="1" i="1" dirty="0">
                  <a:solidFill>
                    <a:schemeClr val="tx1"/>
                  </a:solidFill>
                </a:rPr>
                <a:t>Auditing</a:t>
              </a:r>
            </a:p>
          </p:txBody>
        </p:sp>
        <p:sp>
          <p:nvSpPr>
            <p:cNvPr id="43" name="Google Shape;451;p28">
              <a:extLst>
                <a:ext uri="{FF2B5EF4-FFF2-40B4-BE49-F238E27FC236}">
                  <a16:creationId xmlns:a16="http://schemas.microsoft.com/office/drawing/2014/main" id="{D659B6B4-13B8-4529-B5C6-D011C3BFC759}"/>
                </a:ext>
              </a:extLst>
            </p:cNvPr>
            <p:cNvSpPr/>
            <p:nvPr/>
          </p:nvSpPr>
          <p:spPr>
            <a:xfrm>
              <a:off x="9870342" y="1488336"/>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4" name="Google Shape;452;p28">
              <a:extLst>
                <a:ext uri="{FF2B5EF4-FFF2-40B4-BE49-F238E27FC236}">
                  <a16:creationId xmlns:a16="http://schemas.microsoft.com/office/drawing/2014/main" id="{B56401E3-3E40-4C3A-AD89-D6ADE74A16A3}"/>
                </a:ext>
              </a:extLst>
            </p:cNvPr>
            <p:cNvSpPr/>
            <p:nvPr/>
          </p:nvSpPr>
          <p:spPr>
            <a:xfrm>
              <a:off x="9970107" y="1734127"/>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5" name="Google Shape;453;p28">
              <a:extLst>
                <a:ext uri="{FF2B5EF4-FFF2-40B4-BE49-F238E27FC236}">
                  <a16:creationId xmlns:a16="http://schemas.microsoft.com/office/drawing/2014/main" id="{F5ACFEA9-7B6D-4C28-AAD3-E645DD76B7C6}"/>
                </a:ext>
              </a:extLst>
            </p:cNvPr>
            <p:cNvSpPr/>
            <p:nvPr/>
          </p:nvSpPr>
          <p:spPr>
            <a:xfrm>
              <a:off x="9933431" y="1569088"/>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46" name="Google Shape;464;p28">
              <a:extLst>
                <a:ext uri="{FF2B5EF4-FFF2-40B4-BE49-F238E27FC236}">
                  <a16:creationId xmlns:a16="http://schemas.microsoft.com/office/drawing/2014/main" id="{41C9D96C-9CAA-4875-8122-4D9AB0570878}"/>
                </a:ext>
              </a:extLst>
            </p:cNvPr>
            <p:cNvSpPr/>
            <p:nvPr/>
          </p:nvSpPr>
          <p:spPr>
            <a:xfrm>
              <a:off x="8956143" y="4298052"/>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69;p28">
              <a:extLst>
                <a:ext uri="{FF2B5EF4-FFF2-40B4-BE49-F238E27FC236}">
                  <a16:creationId xmlns:a16="http://schemas.microsoft.com/office/drawing/2014/main" id="{BF410873-0CA3-43B6-B78C-4E7D90E624A5}"/>
                </a:ext>
              </a:extLst>
            </p:cNvPr>
            <p:cNvSpPr/>
            <p:nvPr/>
          </p:nvSpPr>
          <p:spPr>
            <a:xfrm>
              <a:off x="8932040" y="4271715"/>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97;p28">
              <a:extLst>
                <a:ext uri="{FF2B5EF4-FFF2-40B4-BE49-F238E27FC236}">
                  <a16:creationId xmlns:a16="http://schemas.microsoft.com/office/drawing/2014/main" id="{7C80F766-9441-4375-826E-9C644C7E70B0}"/>
                </a:ext>
              </a:extLst>
            </p:cNvPr>
            <p:cNvSpPr txBox="1"/>
            <p:nvPr/>
          </p:nvSpPr>
          <p:spPr>
            <a:xfrm>
              <a:off x="8691401" y="4954045"/>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18</a:t>
              </a:r>
              <a:endParaRPr sz="1600" dirty="0">
                <a:solidFill>
                  <a:schemeClr val="accent4"/>
                </a:solidFill>
                <a:latin typeface="Source Code Pro Black"/>
                <a:ea typeface="Source Code Pro Black"/>
                <a:cs typeface="Source Code Pro Black"/>
                <a:sym typeface="Source Code Pro Black"/>
              </a:endParaRPr>
            </a:p>
          </p:txBody>
        </p:sp>
        <p:sp>
          <p:nvSpPr>
            <p:cNvPr id="49" name="Google Shape;502;p28">
              <a:extLst>
                <a:ext uri="{FF2B5EF4-FFF2-40B4-BE49-F238E27FC236}">
                  <a16:creationId xmlns:a16="http://schemas.microsoft.com/office/drawing/2014/main" id="{592A9F64-EC91-43FB-A94B-49F384A7BF75}"/>
                </a:ext>
              </a:extLst>
            </p:cNvPr>
            <p:cNvSpPr txBox="1">
              <a:spLocks/>
            </p:cNvSpPr>
            <p:nvPr/>
          </p:nvSpPr>
          <p:spPr>
            <a:xfrm>
              <a:off x="5916722" y="5170734"/>
              <a:ext cx="2481843" cy="7511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171450" indent="-171450">
                <a:buFont typeface="Arial" panose="020B0604020202020204" pitchFamily="34" charset="0"/>
                <a:buChar char="•"/>
              </a:pPr>
              <a:r>
                <a:rPr lang="en-ID" sz="1200" b="1" i="1" dirty="0">
                  <a:solidFill>
                    <a:schemeClr val="tx1"/>
                  </a:solidFill>
                </a:rPr>
                <a:t>Roadmap</a:t>
              </a:r>
              <a:r>
                <a:rPr lang="en-ID" sz="1200" b="1" dirty="0">
                  <a:solidFill>
                    <a:schemeClr val="tx1"/>
                  </a:solidFill>
                </a:rPr>
                <a:t> Data Analytics (2019-2023)</a:t>
              </a:r>
              <a:endParaRPr lang="en-ID" sz="1100" b="1" dirty="0">
                <a:solidFill>
                  <a:schemeClr val="tx1"/>
                </a:solidFill>
              </a:endParaRPr>
            </a:p>
            <a:p>
              <a:pPr marL="171450" indent="-171450">
                <a:buFont typeface="Arial" panose="020B0604020202020204" pitchFamily="34" charset="0"/>
                <a:buChar char="•"/>
              </a:pPr>
              <a:r>
                <a:rPr lang="en-ID" sz="1100" dirty="0"/>
                <a:t>Pembangunan </a:t>
              </a:r>
              <a:r>
                <a:rPr lang="en-ID" sz="1100" i="1" dirty="0"/>
                <a:t>War Room</a:t>
              </a:r>
            </a:p>
            <a:p>
              <a:pPr marL="171450" indent="-171450">
                <a:buFont typeface="Arial" panose="020B0604020202020204" pitchFamily="34" charset="0"/>
                <a:buChar char="•"/>
              </a:pPr>
              <a:r>
                <a:rPr lang="pt-BR" sz="1200" b="1" dirty="0">
                  <a:solidFill>
                    <a:schemeClr val="tx1"/>
                  </a:solidFill>
                </a:rPr>
                <a:t>Pengembangan Aplikasi CA</a:t>
              </a:r>
              <a:r>
                <a:rPr lang="pt-BR" sz="1200" b="1" i="1" dirty="0">
                  <a:solidFill>
                    <a:schemeClr val="tx1"/>
                  </a:solidFill>
                </a:rPr>
                <a:t>  </a:t>
              </a:r>
              <a:r>
                <a:rPr lang="pt-BR" sz="1200" b="1" dirty="0">
                  <a:solidFill>
                    <a:schemeClr val="tx1"/>
                  </a:solidFill>
                </a:rPr>
                <a:t>e-Reviu LK</a:t>
              </a:r>
              <a:endParaRPr lang="en-ID" sz="1200" b="1" dirty="0">
                <a:solidFill>
                  <a:schemeClr val="tx1"/>
                </a:solidFill>
              </a:endParaRPr>
            </a:p>
          </p:txBody>
        </p:sp>
        <p:sp>
          <p:nvSpPr>
            <p:cNvPr id="50" name="Google Shape;451;p28">
              <a:extLst>
                <a:ext uri="{FF2B5EF4-FFF2-40B4-BE49-F238E27FC236}">
                  <a16:creationId xmlns:a16="http://schemas.microsoft.com/office/drawing/2014/main" id="{343A79F9-E064-4696-A94B-4ED3BBBAF140}"/>
                </a:ext>
              </a:extLst>
            </p:cNvPr>
            <p:cNvSpPr/>
            <p:nvPr/>
          </p:nvSpPr>
          <p:spPr>
            <a:xfrm>
              <a:off x="9223997" y="3871375"/>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1" name="Google Shape;452;p28">
              <a:extLst>
                <a:ext uri="{FF2B5EF4-FFF2-40B4-BE49-F238E27FC236}">
                  <a16:creationId xmlns:a16="http://schemas.microsoft.com/office/drawing/2014/main" id="{83F63AB2-3F04-4BA6-A20E-B010B643191B}"/>
                </a:ext>
              </a:extLst>
            </p:cNvPr>
            <p:cNvSpPr/>
            <p:nvPr/>
          </p:nvSpPr>
          <p:spPr>
            <a:xfrm>
              <a:off x="9323762" y="4117166"/>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2" name="Google Shape;453;p28">
              <a:extLst>
                <a:ext uri="{FF2B5EF4-FFF2-40B4-BE49-F238E27FC236}">
                  <a16:creationId xmlns:a16="http://schemas.microsoft.com/office/drawing/2014/main" id="{1275F24F-B3B8-4D25-860B-BA855F649FB7}"/>
                </a:ext>
              </a:extLst>
            </p:cNvPr>
            <p:cNvSpPr/>
            <p:nvPr/>
          </p:nvSpPr>
          <p:spPr>
            <a:xfrm>
              <a:off x="9296513" y="3952127"/>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53" name="Google Shape;464;p28">
              <a:extLst>
                <a:ext uri="{FF2B5EF4-FFF2-40B4-BE49-F238E27FC236}">
                  <a16:creationId xmlns:a16="http://schemas.microsoft.com/office/drawing/2014/main" id="{B21C3E94-684B-4C7D-946B-B1822BDA84DF}"/>
                </a:ext>
              </a:extLst>
            </p:cNvPr>
            <p:cNvSpPr/>
            <p:nvPr/>
          </p:nvSpPr>
          <p:spPr>
            <a:xfrm>
              <a:off x="6422658" y="4297569"/>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69;p28">
              <a:extLst>
                <a:ext uri="{FF2B5EF4-FFF2-40B4-BE49-F238E27FC236}">
                  <a16:creationId xmlns:a16="http://schemas.microsoft.com/office/drawing/2014/main" id="{BDB64350-AA08-4383-A258-A94EA9DF91C8}"/>
                </a:ext>
              </a:extLst>
            </p:cNvPr>
            <p:cNvSpPr/>
            <p:nvPr/>
          </p:nvSpPr>
          <p:spPr>
            <a:xfrm>
              <a:off x="6398555" y="4271232"/>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97;p28">
              <a:extLst>
                <a:ext uri="{FF2B5EF4-FFF2-40B4-BE49-F238E27FC236}">
                  <a16:creationId xmlns:a16="http://schemas.microsoft.com/office/drawing/2014/main" id="{3CDA0A68-B64A-4AB6-A66C-91615DAAC21D}"/>
                </a:ext>
              </a:extLst>
            </p:cNvPr>
            <p:cNvSpPr txBox="1"/>
            <p:nvPr/>
          </p:nvSpPr>
          <p:spPr>
            <a:xfrm>
              <a:off x="6157916" y="4953562"/>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19</a:t>
              </a:r>
              <a:endParaRPr sz="1600" dirty="0">
                <a:solidFill>
                  <a:schemeClr val="accent4"/>
                </a:solidFill>
                <a:latin typeface="Source Code Pro Black"/>
                <a:ea typeface="Source Code Pro Black"/>
                <a:cs typeface="Source Code Pro Black"/>
                <a:sym typeface="Source Code Pro Black"/>
              </a:endParaRPr>
            </a:p>
          </p:txBody>
        </p:sp>
        <p:sp>
          <p:nvSpPr>
            <p:cNvPr id="56" name="Google Shape;502;p28">
              <a:extLst>
                <a:ext uri="{FF2B5EF4-FFF2-40B4-BE49-F238E27FC236}">
                  <a16:creationId xmlns:a16="http://schemas.microsoft.com/office/drawing/2014/main" id="{A786F33A-0BEB-4F18-BA11-319250DAADE6}"/>
                </a:ext>
              </a:extLst>
            </p:cNvPr>
            <p:cNvSpPr txBox="1">
              <a:spLocks/>
            </p:cNvSpPr>
            <p:nvPr/>
          </p:nvSpPr>
          <p:spPr>
            <a:xfrm>
              <a:off x="3754360" y="5158129"/>
              <a:ext cx="2361415" cy="67451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171450" indent="-171450">
                <a:buFont typeface="Arial" panose="020B0604020202020204" pitchFamily="34" charset="0"/>
                <a:buChar char="•"/>
              </a:pPr>
              <a:r>
                <a:rPr lang="en-ID" sz="1100" dirty="0" err="1"/>
                <a:t>Migrasi</a:t>
              </a:r>
              <a:r>
                <a:rPr lang="en-ID" sz="1100" dirty="0"/>
                <a:t> </a:t>
              </a:r>
              <a:r>
                <a:rPr lang="en-ID" sz="1100" dirty="0" err="1"/>
                <a:t>ke</a:t>
              </a:r>
              <a:r>
                <a:rPr lang="en-ID" sz="1100" dirty="0"/>
                <a:t> AMS </a:t>
              </a:r>
              <a:r>
                <a:rPr lang="en-ID" sz="1100" i="1" dirty="0"/>
                <a:t>Web</a:t>
              </a:r>
              <a:r>
                <a:rPr lang="en-ID" sz="1100" dirty="0"/>
                <a:t> </a:t>
              </a:r>
              <a:r>
                <a:rPr lang="en-ID" sz="1100" i="1" dirty="0"/>
                <a:t>based</a:t>
              </a:r>
              <a:endParaRPr lang="en-ID" sz="1100" dirty="0"/>
            </a:p>
            <a:p>
              <a:pPr marL="171450" indent="-171450">
                <a:buFont typeface="Arial" panose="020B0604020202020204" pitchFamily="34" charset="0"/>
                <a:buChar char="•"/>
              </a:pPr>
              <a:r>
                <a:rPr lang="en-ID" sz="1100" b="1" dirty="0" err="1">
                  <a:solidFill>
                    <a:schemeClr val="tx1"/>
                  </a:solidFill>
                </a:rPr>
                <a:t>Penyelenggaraan</a:t>
              </a:r>
              <a:r>
                <a:rPr lang="en-ID" sz="1100" b="1" dirty="0">
                  <a:solidFill>
                    <a:schemeClr val="tx1"/>
                  </a:solidFill>
                </a:rPr>
                <a:t> DA </a:t>
              </a:r>
              <a:r>
                <a:rPr lang="en-ID" sz="1100" b="1" i="1" dirty="0">
                  <a:solidFill>
                    <a:schemeClr val="tx1"/>
                  </a:solidFill>
                </a:rPr>
                <a:t>Competition</a:t>
              </a:r>
              <a:r>
                <a:rPr lang="en-ID" sz="1100" b="1" dirty="0">
                  <a:solidFill>
                    <a:schemeClr val="tx1"/>
                  </a:solidFill>
                </a:rPr>
                <a:t> </a:t>
              </a:r>
            </a:p>
            <a:p>
              <a:pPr marL="0" indent="0" algn="ctr">
                <a:buFont typeface="Roboto"/>
                <a:buNone/>
              </a:pPr>
              <a:endParaRPr lang="en-ID" sz="1100" dirty="0"/>
            </a:p>
          </p:txBody>
        </p:sp>
        <p:sp>
          <p:nvSpPr>
            <p:cNvPr id="57" name="Google Shape;451;p28">
              <a:extLst>
                <a:ext uri="{FF2B5EF4-FFF2-40B4-BE49-F238E27FC236}">
                  <a16:creationId xmlns:a16="http://schemas.microsoft.com/office/drawing/2014/main" id="{E632023E-2206-4392-B701-4EAB85A06F89}"/>
                </a:ext>
              </a:extLst>
            </p:cNvPr>
            <p:cNvSpPr/>
            <p:nvPr/>
          </p:nvSpPr>
          <p:spPr>
            <a:xfrm>
              <a:off x="6690512" y="3870892"/>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8" name="Google Shape;452;p28">
              <a:extLst>
                <a:ext uri="{FF2B5EF4-FFF2-40B4-BE49-F238E27FC236}">
                  <a16:creationId xmlns:a16="http://schemas.microsoft.com/office/drawing/2014/main" id="{36C5C662-7E73-43A2-B2A1-0C7B59D7518F}"/>
                </a:ext>
              </a:extLst>
            </p:cNvPr>
            <p:cNvSpPr/>
            <p:nvPr/>
          </p:nvSpPr>
          <p:spPr>
            <a:xfrm>
              <a:off x="6790277" y="4116683"/>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9" name="Google Shape;453;p28">
              <a:extLst>
                <a:ext uri="{FF2B5EF4-FFF2-40B4-BE49-F238E27FC236}">
                  <a16:creationId xmlns:a16="http://schemas.microsoft.com/office/drawing/2014/main" id="{1910118B-2B39-4781-81F2-6C967932CD1B}"/>
                </a:ext>
              </a:extLst>
            </p:cNvPr>
            <p:cNvSpPr/>
            <p:nvPr/>
          </p:nvSpPr>
          <p:spPr>
            <a:xfrm>
              <a:off x="6753601" y="3951644"/>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60" name="Google Shape;464;p28">
              <a:extLst>
                <a:ext uri="{FF2B5EF4-FFF2-40B4-BE49-F238E27FC236}">
                  <a16:creationId xmlns:a16="http://schemas.microsoft.com/office/drawing/2014/main" id="{D6FCCDE8-07D4-47AD-B4A2-F1A0989389BA}"/>
                </a:ext>
              </a:extLst>
            </p:cNvPr>
            <p:cNvSpPr/>
            <p:nvPr/>
          </p:nvSpPr>
          <p:spPr>
            <a:xfrm>
              <a:off x="4177104" y="4301631"/>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69;p28">
              <a:extLst>
                <a:ext uri="{FF2B5EF4-FFF2-40B4-BE49-F238E27FC236}">
                  <a16:creationId xmlns:a16="http://schemas.microsoft.com/office/drawing/2014/main" id="{1D47026E-47C7-4FC3-8AF1-BBAE4AB6707F}"/>
                </a:ext>
              </a:extLst>
            </p:cNvPr>
            <p:cNvSpPr/>
            <p:nvPr/>
          </p:nvSpPr>
          <p:spPr>
            <a:xfrm>
              <a:off x="4153001" y="4275294"/>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7;p28">
              <a:extLst>
                <a:ext uri="{FF2B5EF4-FFF2-40B4-BE49-F238E27FC236}">
                  <a16:creationId xmlns:a16="http://schemas.microsoft.com/office/drawing/2014/main" id="{DFF903AF-0E74-4578-B16D-D2138C7531A4}"/>
                </a:ext>
              </a:extLst>
            </p:cNvPr>
            <p:cNvSpPr txBox="1"/>
            <p:nvPr/>
          </p:nvSpPr>
          <p:spPr>
            <a:xfrm>
              <a:off x="3912362" y="4957624"/>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20</a:t>
              </a:r>
              <a:endParaRPr sz="1600" dirty="0">
                <a:solidFill>
                  <a:schemeClr val="accent4"/>
                </a:solidFill>
                <a:latin typeface="Source Code Pro Black"/>
                <a:ea typeface="Source Code Pro Black"/>
                <a:cs typeface="Source Code Pro Black"/>
                <a:sym typeface="Source Code Pro Black"/>
              </a:endParaRPr>
            </a:p>
          </p:txBody>
        </p:sp>
        <p:sp>
          <p:nvSpPr>
            <p:cNvPr id="63" name="Google Shape;502;p28">
              <a:extLst>
                <a:ext uri="{FF2B5EF4-FFF2-40B4-BE49-F238E27FC236}">
                  <a16:creationId xmlns:a16="http://schemas.microsoft.com/office/drawing/2014/main" id="{BC4CF09B-81A7-457E-8C56-CD682B5B8781}"/>
                </a:ext>
              </a:extLst>
            </p:cNvPr>
            <p:cNvSpPr txBox="1">
              <a:spLocks/>
            </p:cNvSpPr>
            <p:nvPr/>
          </p:nvSpPr>
          <p:spPr>
            <a:xfrm>
              <a:off x="1198043" y="5174534"/>
              <a:ext cx="2465960" cy="7511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171450" indent="-171450">
                <a:buFont typeface="Arial" panose="020B0604020202020204" pitchFamily="34" charset="0"/>
                <a:buChar char="•"/>
              </a:pPr>
              <a:r>
                <a:rPr lang="en-US" sz="1100" b="1" dirty="0" err="1"/>
                <a:t>Inisiatif</a:t>
              </a:r>
              <a:r>
                <a:rPr lang="en-US" sz="1100" b="1" dirty="0"/>
                <a:t> </a:t>
              </a:r>
              <a:r>
                <a:rPr lang="en-US" sz="1100" b="1" dirty="0" err="1"/>
                <a:t>Strategis</a:t>
              </a:r>
              <a:r>
                <a:rPr lang="en-US" sz="1100" b="1" dirty="0"/>
                <a:t> DA </a:t>
              </a:r>
              <a:r>
                <a:rPr lang="en-US" sz="1100" b="1" dirty="0" err="1"/>
                <a:t>Kemenkeu</a:t>
              </a:r>
              <a:endParaRPr lang="en-ID" sz="1100" b="1" dirty="0"/>
            </a:p>
            <a:p>
              <a:pPr marL="171450" indent="-171450">
                <a:buFont typeface="Arial" panose="020B0604020202020204" pitchFamily="34" charset="0"/>
                <a:buChar char="•"/>
              </a:pPr>
              <a:r>
                <a:rPr lang="en-ID" sz="1100" dirty="0" err="1"/>
                <a:t>Pedoman</a:t>
              </a:r>
              <a:r>
                <a:rPr lang="en-ID" sz="1100" dirty="0"/>
                <a:t> </a:t>
              </a:r>
              <a:r>
                <a:rPr lang="en-ID" sz="1100" dirty="0" err="1"/>
                <a:t>Reviu</a:t>
              </a:r>
              <a:r>
                <a:rPr lang="en-ID" sz="1100" dirty="0"/>
                <a:t> Tata </a:t>
              </a:r>
              <a:r>
                <a:rPr lang="en-ID" sz="1100" dirty="0" err="1"/>
                <a:t>Kelola</a:t>
              </a:r>
              <a:r>
                <a:rPr lang="en-ID" sz="1100" dirty="0"/>
                <a:t> Data (</a:t>
              </a:r>
              <a:r>
                <a:rPr lang="en-ID" sz="1100" i="1" dirty="0"/>
                <a:t>Data</a:t>
              </a:r>
              <a:r>
                <a:rPr lang="en-ID" sz="1100" dirty="0"/>
                <a:t> </a:t>
              </a:r>
              <a:r>
                <a:rPr lang="en-ID" sz="1100" i="1" dirty="0"/>
                <a:t>Governance</a:t>
              </a:r>
              <a:r>
                <a:rPr lang="en-ID" sz="1100" dirty="0"/>
                <a:t>)</a:t>
              </a:r>
            </a:p>
          </p:txBody>
        </p:sp>
        <p:sp>
          <p:nvSpPr>
            <p:cNvPr id="64" name="Google Shape;451;p28">
              <a:extLst>
                <a:ext uri="{FF2B5EF4-FFF2-40B4-BE49-F238E27FC236}">
                  <a16:creationId xmlns:a16="http://schemas.microsoft.com/office/drawing/2014/main" id="{7A73CF44-5C7E-4FBE-A542-8766BEF8F9E6}"/>
                </a:ext>
              </a:extLst>
            </p:cNvPr>
            <p:cNvSpPr/>
            <p:nvPr/>
          </p:nvSpPr>
          <p:spPr>
            <a:xfrm>
              <a:off x="4444958" y="3874954"/>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5" name="Google Shape;452;p28">
              <a:extLst>
                <a:ext uri="{FF2B5EF4-FFF2-40B4-BE49-F238E27FC236}">
                  <a16:creationId xmlns:a16="http://schemas.microsoft.com/office/drawing/2014/main" id="{6FB061A0-8FB3-4E48-A3D8-D276E69ECFCC}"/>
                </a:ext>
              </a:extLst>
            </p:cNvPr>
            <p:cNvSpPr/>
            <p:nvPr/>
          </p:nvSpPr>
          <p:spPr>
            <a:xfrm>
              <a:off x="4544723" y="4120745"/>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6" name="Google Shape;453;p28">
              <a:extLst>
                <a:ext uri="{FF2B5EF4-FFF2-40B4-BE49-F238E27FC236}">
                  <a16:creationId xmlns:a16="http://schemas.microsoft.com/office/drawing/2014/main" id="{B96AC127-DE9B-48E7-A192-C478B1B72CA3}"/>
                </a:ext>
              </a:extLst>
            </p:cNvPr>
            <p:cNvSpPr/>
            <p:nvPr/>
          </p:nvSpPr>
          <p:spPr>
            <a:xfrm>
              <a:off x="4508047" y="3955706"/>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sp>
          <p:nvSpPr>
            <p:cNvPr id="67" name="Google Shape;464;p28">
              <a:extLst>
                <a:ext uri="{FF2B5EF4-FFF2-40B4-BE49-F238E27FC236}">
                  <a16:creationId xmlns:a16="http://schemas.microsoft.com/office/drawing/2014/main" id="{D8DAE8C6-9C64-46D6-AB67-F9105C3C8E55}"/>
                </a:ext>
              </a:extLst>
            </p:cNvPr>
            <p:cNvSpPr/>
            <p:nvPr/>
          </p:nvSpPr>
          <p:spPr>
            <a:xfrm>
              <a:off x="1693035" y="4300262"/>
              <a:ext cx="767521" cy="643399"/>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8" name="Google Shape;469;p28">
              <a:extLst>
                <a:ext uri="{FF2B5EF4-FFF2-40B4-BE49-F238E27FC236}">
                  <a16:creationId xmlns:a16="http://schemas.microsoft.com/office/drawing/2014/main" id="{6852939C-6C94-465C-A94B-259684D6CD58}"/>
                </a:ext>
              </a:extLst>
            </p:cNvPr>
            <p:cNvSpPr/>
            <p:nvPr/>
          </p:nvSpPr>
          <p:spPr>
            <a:xfrm>
              <a:off x="1669349" y="4271232"/>
              <a:ext cx="814895" cy="696074"/>
            </a:xfrm>
            <a:custGeom>
              <a:avLst/>
              <a:gdLst/>
              <a:ahLst/>
              <a:cxnLst/>
              <a:rect l="l" t="t" r="r" b="b"/>
              <a:pathLst>
                <a:path w="45549" h="42351" extrusionOk="0">
                  <a:moveTo>
                    <a:pt x="22710" y="0"/>
                  </a:moveTo>
                  <a:cubicBezTo>
                    <a:pt x="12520" y="0"/>
                    <a:pt x="3563" y="7383"/>
                    <a:pt x="1858" y="17773"/>
                  </a:cubicBezTo>
                  <a:cubicBezTo>
                    <a:pt x="0" y="29324"/>
                    <a:pt x="7834" y="40183"/>
                    <a:pt x="19385" y="42078"/>
                  </a:cubicBezTo>
                  <a:cubicBezTo>
                    <a:pt x="20528" y="42261"/>
                    <a:pt x="21663" y="42350"/>
                    <a:pt x="22783" y="42350"/>
                  </a:cubicBezTo>
                  <a:cubicBezTo>
                    <a:pt x="32996" y="42350"/>
                    <a:pt x="41979" y="34960"/>
                    <a:pt x="43653" y="24551"/>
                  </a:cubicBezTo>
                  <a:cubicBezTo>
                    <a:pt x="45548" y="13000"/>
                    <a:pt x="37714" y="2141"/>
                    <a:pt x="26163" y="283"/>
                  </a:cubicBezTo>
                  <a:cubicBezTo>
                    <a:pt x="25002" y="92"/>
                    <a:pt x="23848" y="0"/>
                    <a:pt x="22710" y="0"/>
                  </a:cubicBezTo>
                  <a:close/>
                </a:path>
              </a:pathLst>
            </a:custGeom>
            <a:noFill/>
            <a:ln w="9525" cap="flat" cmpd="sng">
              <a:solidFill>
                <a:schemeClr val="dk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7;p28">
              <a:extLst>
                <a:ext uri="{FF2B5EF4-FFF2-40B4-BE49-F238E27FC236}">
                  <a16:creationId xmlns:a16="http://schemas.microsoft.com/office/drawing/2014/main" id="{72D5DAF2-48E2-4E70-A7A2-F73B718D3BBA}"/>
                </a:ext>
              </a:extLst>
            </p:cNvPr>
            <p:cNvSpPr txBox="1"/>
            <p:nvPr/>
          </p:nvSpPr>
          <p:spPr>
            <a:xfrm>
              <a:off x="1428710" y="4953562"/>
              <a:ext cx="1288580" cy="22991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600" dirty="0">
                  <a:solidFill>
                    <a:schemeClr val="accent4"/>
                  </a:solidFill>
                  <a:latin typeface="Source Code Pro Black"/>
                  <a:ea typeface="Source Code Pro Black"/>
                  <a:cs typeface="Source Code Pro Black"/>
                  <a:sym typeface="Source Code Pro Black"/>
                </a:rPr>
                <a:t>2021</a:t>
              </a:r>
              <a:endParaRPr sz="1600" dirty="0">
                <a:solidFill>
                  <a:schemeClr val="accent4"/>
                </a:solidFill>
                <a:latin typeface="Source Code Pro Black"/>
                <a:ea typeface="Source Code Pro Black"/>
                <a:cs typeface="Source Code Pro Black"/>
                <a:sym typeface="Source Code Pro Black"/>
              </a:endParaRPr>
            </a:p>
          </p:txBody>
        </p:sp>
        <p:sp>
          <p:nvSpPr>
            <p:cNvPr id="70" name="Google Shape;451;p28">
              <a:extLst>
                <a:ext uri="{FF2B5EF4-FFF2-40B4-BE49-F238E27FC236}">
                  <a16:creationId xmlns:a16="http://schemas.microsoft.com/office/drawing/2014/main" id="{AFE69809-F4FC-4A3A-B68D-0482E72108DF}"/>
                </a:ext>
              </a:extLst>
            </p:cNvPr>
            <p:cNvSpPr/>
            <p:nvPr/>
          </p:nvSpPr>
          <p:spPr>
            <a:xfrm>
              <a:off x="1961306" y="3870892"/>
              <a:ext cx="250460" cy="244425"/>
            </a:xfrm>
            <a:custGeom>
              <a:avLst/>
              <a:gdLst/>
              <a:ahLst/>
              <a:cxnLst/>
              <a:rect l="l" t="t" r="r" b="b"/>
              <a:pathLst>
                <a:path w="10969" h="10932" extrusionOk="0">
                  <a:moveTo>
                    <a:pt x="5466" y="0"/>
                  </a:moveTo>
                  <a:cubicBezTo>
                    <a:pt x="2478" y="0"/>
                    <a:pt x="0" y="2442"/>
                    <a:pt x="0" y="5466"/>
                  </a:cubicBezTo>
                  <a:cubicBezTo>
                    <a:pt x="0" y="8490"/>
                    <a:pt x="2478" y="10932"/>
                    <a:pt x="5466" y="10932"/>
                  </a:cubicBezTo>
                  <a:cubicBezTo>
                    <a:pt x="8490" y="10932"/>
                    <a:pt x="10968" y="8490"/>
                    <a:pt x="10968" y="5466"/>
                  </a:cubicBezTo>
                  <a:cubicBezTo>
                    <a:pt x="10968" y="2442"/>
                    <a:pt x="8490" y="0"/>
                    <a:pt x="5466" y="0"/>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1" name="Google Shape;452;p28">
              <a:extLst>
                <a:ext uri="{FF2B5EF4-FFF2-40B4-BE49-F238E27FC236}">
                  <a16:creationId xmlns:a16="http://schemas.microsoft.com/office/drawing/2014/main" id="{41E98261-48F8-4C9C-AB1B-BD6F08A3765A}"/>
                </a:ext>
              </a:extLst>
            </p:cNvPr>
            <p:cNvSpPr/>
            <p:nvPr/>
          </p:nvSpPr>
          <p:spPr>
            <a:xfrm>
              <a:off x="2061071" y="4116683"/>
              <a:ext cx="45719" cy="135413"/>
            </a:xfrm>
            <a:custGeom>
              <a:avLst/>
              <a:gdLst/>
              <a:ahLst/>
              <a:cxnLst/>
              <a:rect l="l" t="t" r="r" b="b"/>
              <a:pathLst>
                <a:path w="912" h="11771" extrusionOk="0">
                  <a:moveTo>
                    <a:pt x="456" y="1"/>
                  </a:moveTo>
                  <a:cubicBezTo>
                    <a:pt x="228" y="1"/>
                    <a:pt x="1" y="146"/>
                    <a:pt x="1" y="438"/>
                  </a:cubicBezTo>
                  <a:lnTo>
                    <a:pt x="1" y="11333"/>
                  </a:lnTo>
                  <a:cubicBezTo>
                    <a:pt x="1" y="11588"/>
                    <a:pt x="219" y="11770"/>
                    <a:pt x="474" y="11770"/>
                  </a:cubicBezTo>
                  <a:cubicBezTo>
                    <a:pt x="693" y="11770"/>
                    <a:pt x="912" y="11588"/>
                    <a:pt x="912" y="11333"/>
                  </a:cubicBezTo>
                  <a:lnTo>
                    <a:pt x="912" y="438"/>
                  </a:lnTo>
                  <a:cubicBezTo>
                    <a:pt x="912" y="146"/>
                    <a:pt x="684" y="1"/>
                    <a:pt x="456" y="1"/>
                  </a:cubicBezTo>
                  <a:close/>
                </a:path>
              </a:pathLst>
            </a:custGeom>
            <a:solidFill>
              <a:schemeClr val="bg1">
                <a:lumMod val="8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2" name="Google Shape;453;p28">
              <a:extLst>
                <a:ext uri="{FF2B5EF4-FFF2-40B4-BE49-F238E27FC236}">
                  <a16:creationId xmlns:a16="http://schemas.microsoft.com/office/drawing/2014/main" id="{9D43914D-2060-4BA3-8000-F71A258FFED4}"/>
                </a:ext>
              </a:extLst>
            </p:cNvPr>
            <p:cNvSpPr/>
            <p:nvPr/>
          </p:nvSpPr>
          <p:spPr>
            <a:xfrm>
              <a:off x="2024395" y="3951644"/>
              <a:ext cx="117063" cy="101755"/>
            </a:xfrm>
            <a:custGeom>
              <a:avLst/>
              <a:gdLst/>
              <a:ahLst/>
              <a:cxnLst/>
              <a:rect l="l" t="t" r="r" b="b"/>
              <a:pathLst>
                <a:path w="4884" h="4172" extrusionOk="0">
                  <a:moveTo>
                    <a:pt x="2806" y="0"/>
                  </a:moveTo>
                  <a:cubicBezTo>
                    <a:pt x="948" y="0"/>
                    <a:pt x="1" y="2223"/>
                    <a:pt x="1276" y="3535"/>
                  </a:cubicBezTo>
                  <a:cubicBezTo>
                    <a:pt x="1703" y="3974"/>
                    <a:pt x="2239" y="4172"/>
                    <a:pt x="2767" y="4172"/>
                  </a:cubicBezTo>
                  <a:cubicBezTo>
                    <a:pt x="3818" y="4172"/>
                    <a:pt x="4835" y="3387"/>
                    <a:pt x="4883" y="2150"/>
                  </a:cubicBezTo>
                  <a:cubicBezTo>
                    <a:pt x="4883" y="984"/>
                    <a:pt x="3972" y="37"/>
                    <a:pt x="2806" y="0"/>
                  </a:cubicBezTo>
                  <a:close/>
                </a:path>
              </a:pathLst>
            </a:custGeom>
            <a:solidFill>
              <a:srgbClr val="E79C8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dirty="0"/>
            </a:p>
          </p:txBody>
        </p:sp>
        <p:grpSp>
          <p:nvGrpSpPr>
            <p:cNvPr id="73" name="Google Shape;13888;p64">
              <a:extLst>
                <a:ext uri="{FF2B5EF4-FFF2-40B4-BE49-F238E27FC236}">
                  <a16:creationId xmlns:a16="http://schemas.microsoft.com/office/drawing/2014/main" id="{B5DC65B7-CB0F-472E-8145-DD4D606D3F44}"/>
                </a:ext>
              </a:extLst>
            </p:cNvPr>
            <p:cNvGrpSpPr/>
            <p:nvPr/>
          </p:nvGrpSpPr>
          <p:grpSpPr>
            <a:xfrm>
              <a:off x="1749230" y="2060590"/>
              <a:ext cx="330109" cy="347552"/>
              <a:chOff x="7985143" y="2900613"/>
              <a:chExt cx="330109" cy="347552"/>
            </a:xfrm>
            <a:solidFill>
              <a:schemeClr val="bg1"/>
            </a:solidFill>
          </p:grpSpPr>
          <p:sp>
            <p:nvSpPr>
              <p:cNvPr id="139" name="Google Shape;13889;p64">
                <a:extLst>
                  <a:ext uri="{FF2B5EF4-FFF2-40B4-BE49-F238E27FC236}">
                    <a16:creationId xmlns:a16="http://schemas.microsoft.com/office/drawing/2014/main" id="{94E527DD-A882-48B3-95C5-F332A38781FD}"/>
                  </a:ext>
                </a:extLst>
              </p:cNvPr>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3890;p64">
                <a:extLst>
                  <a:ext uri="{FF2B5EF4-FFF2-40B4-BE49-F238E27FC236}">
                    <a16:creationId xmlns:a16="http://schemas.microsoft.com/office/drawing/2014/main" id="{F430C23C-168C-4918-833B-794CA266F673}"/>
                  </a:ext>
                </a:extLst>
              </p:cNvPr>
              <p:cNvSpPr/>
              <p:nvPr/>
            </p:nvSpPr>
            <p:spPr>
              <a:xfrm>
                <a:off x="8163264" y="3005970"/>
                <a:ext cx="32" cy="32"/>
              </a:xfrm>
              <a:custGeom>
                <a:avLst/>
                <a:gdLst/>
                <a:ahLst/>
                <a:cxnLst/>
                <a:rect l="l" t="t" r="r" b="b"/>
                <a:pathLst>
                  <a:path w="1" h="1" extrusionOk="0">
                    <a:moveTo>
                      <a:pt x="1" y="1"/>
                    </a:moveTo>
                    <a:lnTo>
                      <a:pt x="1"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3891;p64">
                <a:extLst>
                  <a:ext uri="{FF2B5EF4-FFF2-40B4-BE49-F238E27FC236}">
                    <a16:creationId xmlns:a16="http://schemas.microsoft.com/office/drawing/2014/main" id="{15229079-4B07-4A73-83FB-1AB2F91708C5}"/>
                  </a:ext>
                </a:extLst>
              </p:cNvPr>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3892;p64">
                <a:extLst>
                  <a:ext uri="{FF2B5EF4-FFF2-40B4-BE49-F238E27FC236}">
                    <a16:creationId xmlns:a16="http://schemas.microsoft.com/office/drawing/2014/main" id="{3A46AB9F-3291-4E71-A08A-E73B2C2DE0B6}"/>
                  </a:ext>
                </a:extLst>
              </p:cNvPr>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3893;p64">
                <a:extLst>
                  <a:ext uri="{FF2B5EF4-FFF2-40B4-BE49-F238E27FC236}">
                    <a16:creationId xmlns:a16="http://schemas.microsoft.com/office/drawing/2014/main" id="{9B935289-B9D7-4B10-9A82-DAB63E2C75CF}"/>
                  </a:ext>
                </a:extLst>
              </p:cNvPr>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3894;p64">
                <a:extLst>
                  <a:ext uri="{FF2B5EF4-FFF2-40B4-BE49-F238E27FC236}">
                    <a16:creationId xmlns:a16="http://schemas.microsoft.com/office/drawing/2014/main" id="{41992B7A-FF62-4EC4-B09C-4725498745F8}"/>
                  </a:ext>
                </a:extLst>
              </p:cNvPr>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3895;p64">
                <a:extLst>
                  <a:ext uri="{FF2B5EF4-FFF2-40B4-BE49-F238E27FC236}">
                    <a16:creationId xmlns:a16="http://schemas.microsoft.com/office/drawing/2014/main" id="{0C1C3A54-AF45-4329-A9FE-82DD562A404C}"/>
                  </a:ext>
                </a:extLst>
              </p:cNvPr>
              <p:cNvSpPr/>
              <p:nvPr/>
            </p:nvSpPr>
            <p:spPr>
              <a:xfrm>
                <a:off x="8168579" y="3016952"/>
                <a:ext cx="32" cy="32"/>
              </a:xfrm>
              <a:custGeom>
                <a:avLst/>
                <a:gdLst/>
                <a:ahLst/>
                <a:cxnLst/>
                <a:rect l="l" t="t" r="r" b="b"/>
                <a:pathLst>
                  <a:path w="1" h="1" extrusionOk="0">
                    <a:moveTo>
                      <a:pt x="0" y="1"/>
                    </a:moveTo>
                    <a:lnTo>
                      <a:pt x="0"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3896;p64">
                <a:extLst>
                  <a:ext uri="{FF2B5EF4-FFF2-40B4-BE49-F238E27FC236}">
                    <a16:creationId xmlns:a16="http://schemas.microsoft.com/office/drawing/2014/main" id="{518FE899-FEF1-4595-982A-EFB57E49549A}"/>
                  </a:ext>
                </a:extLst>
              </p:cNvPr>
              <p:cNvSpPr/>
              <p:nvPr/>
            </p:nvSpPr>
            <p:spPr>
              <a:xfrm>
                <a:off x="8168579" y="3017715"/>
                <a:ext cx="32" cy="32"/>
              </a:xfrm>
              <a:custGeom>
                <a:avLst/>
                <a:gdLst/>
                <a:ahLst/>
                <a:cxnLst/>
                <a:rect l="l" t="t" r="r" b="b"/>
                <a:pathLst>
                  <a:path w="1" h="1" extrusionOk="0">
                    <a:moveTo>
                      <a:pt x="0" y="1"/>
                    </a:move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 name="Google Shape;14065;p64">
              <a:extLst>
                <a:ext uri="{FF2B5EF4-FFF2-40B4-BE49-F238E27FC236}">
                  <a16:creationId xmlns:a16="http://schemas.microsoft.com/office/drawing/2014/main" id="{81ACF891-16DB-429A-917C-549686CEBEEB}"/>
                </a:ext>
              </a:extLst>
            </p:cNvPr>
            <p:cNvGrpSpPr/>
            <p:nvPr/>
          </p:nvGrpSpPr>
          <p:grpSpPr>
            <a:xfrm>
              <a:off x="3493347" y="2094998"/>
              <a:ext cx="416649" cy="325597"/>
              <a:chOff x="5626763" y="2013829"/>
              <a:chExt cx="351722" cy="274788"/>
            </a:xfrm>
            <a:solidFill>
              <a:schemeClr val="bg1"/>
            </a:solidFill>
          </p:grpSpPr>
          <p:sp>
            <p:nvSpPr>
              <p:cNvPr id="129" name="Google Shape;14066;p64">
                <a:extLst>
                  <a:ext uri="{FF2B5EF4-FFF2-40B4-BE49-F238E27FC236}">
                    <a16:creationId xmlns:a16="http://schemas.microsoft.com/office/drawing/2014/main" id="{C334A23A-59D2-4BDA-9F0D-7833F312FFCD}"/>
                  </a:ext>
                </a:extLst>
              </p:cNvPr>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4067;p64">
                <a:extLst>
                  <a:ext uri="{FF2B5EF4-FFF2-40B4-BE49-F238E27FC236}">
                    <a16:creationId xmlns:a16="http://schemas.microsoft.com/office/drawing/2014/main" id="{E25FF45E-A19D-410A-925A-5373ABD926D9}"/>
                  </a:ext>
                </a:extLst>
              </p:cNvPr>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4068;p64">
                <a:extLst>
                  <a:ext uri="{FF2B5EF4-FFF2-40B4-BE49-F238E27FC236}">
                    <a16:creationId xmlns:a16="http://schemas.microsoft.com/office/drawing/2014/main" id="{45625731-6FB5-40E4-81FA-C0CD70201D20}"/>
                  </a:ext>
                </a:extLst>
              </p:cNvPr>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4069;p64">
                <a:extLst>
                  <a:ext uri="{FF2B5EF4-FFF2-40B4-BE49-F238E27FC236}">
                    <a16:creationId xmlns:a16="http://schemas.microsoft.com/office/drawing/2014/main" id="{9AA8F595-B508-451D-823E-6153A8D9B58C}"/>
                  </a:ext>
                </a:extLst>
              </p:cNvPr>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4070;p64">
                <a:extLst>
                  <a:ext uri="{FF2B5EF4-FFF2-40B4-BE49-F238E27FC236}">
                    <a16:creationId xmlns:a16="http://schemas.microsoft.com/office/drawing/2014/main" id="{99DB08F5-5104-4D04-A937-9E9DB8CA05B6}"/>
                  </a:ext>
                </a:extLst>
              </p:cNvPr>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4071;p64">
                <a:extLst>
                  <a:ext uri="{FF2B5EF4-FFF2-40B4-BE49-F238E27FC236}">
                    <a16:creationId xmlns:a16="http://schemas.microsoft.com/office/drawing/2014/main" id="{62B8094A-910E-44BB-9F5C-C88326CB5979}"/>
                  </a:ext>
                </a:extLst>
              </p:cNvPr>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4072;p64">
                <a:extLst>
                  <a:ext uri="{FF2B5EF4-FFF2-40B4-BE49-F238E27FC236}">
                    <a16:creationId xmlns:a16="http://schemas.microsoft.com/office/drawing/2014/main" id="{0686D7B3-EA3F-40BC-98A2-E55A7A64CC9A}"/>
                  </a:ext>
                </a:extLst>
              </p:cNvPr>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4073;p64">
                <a:extLst>
                  <a:ext uri="{FF2B5EF4-FFF2-40B4-BE49-F238E27FC236}">
                    <a16:creationId xmlns:a16="http://schemas.microsoft.com/office/drawing/2014/main" id="{0E7360D4-BD48-4530-BAF5-60A70F31646B}"/>
                  </a:ext>
                </a:extLst>
              </p:cNvPr>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4074;p64">
                <a:extLst>
                  <a:ext uri="{FF2B5EF4-FFF2-40B4-BE49-F238E27FC236}">
                    <a16:creationId xmlns:a16="http://schemas.microsoft.com/office/drawing/2014/main" id="{F6558AF4-F342-4ACA-AFFD-11AF2FC9C31A}"/>
                  </a:ext>
                </a:extLst>
              </p:cNvPr>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4075;p64">
                <a:extLst>
                  <a:ext uri="{FF2B5EF4-FFF2-40B4-BE49-F238E27FC236}">
                    <a16:creationId xmlns:a16="http://schemas.microsoft.com/office/drawing/2014/main" id="{5987A460-3460-4714-B9C7-9D74419ECB7A}"/>
                  </a:ext>
                </a:extLst>
              </p:cNvPr>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 name="Google Shape;11582;p60">
              <a:extLst>
                <a:ext uri="{FF2B5EF4-FFF2-40B4-BE49-F238E27FC236}">
                  <a16:creationId xmlns:a16="http://schemas.microsoft.com/office/drawing/2014/main" id="{EF752658-9BEC-413A-A1AC-06AC1AFC7CF1}"/>
                </a:ext>
              </a:extLst>
            </p:cNvPr>
            <p:cNvGrpSpPr/>
            <p:nvPr/>
          </p:nvGrpSpPr>
          <p:grpSpPr>
            <a:xfrm>
              <a:off x="5643222" y="2058201"/>
              <a:ext cx="334666" cy="334634"/>
              <a:chOff x="7976174" y="2925108"/>
              <a:chExt cx="334666" cy="334634"/>
            </a:xfrm>
            <a:solidFill>
              <a:schemeClr val="bg1"/>
            </a:solidFill>
          </p:grpSpPr>
          <p:sp>
            <p:nvSpPr>
              <p:cNvPr id="120" name="Google Shape;11583;p60">
                <a:extLst>
                  <a:ext uri="{FF2B5EF4-FFF2-40B4-BE49-F238E27FC236}">
                    <a16:creationId xmlns:a16="http://schemas.microsoft.com/office/drawing/2014/main" id="{C866C54B-B0EF-4DF3-9FA1-5370EE710DD9}"/>
                  </a:ext>
                </a:extLst>
              </p:cNvPr>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1584;p60">
                <a:extLst>
                  <a:ext uri="{FF2B5EF4-FFF2-40B4-BE49-F238E27FC236}">
                    <a16:creationId xmlns:a16="http://schemas.microsoft.com/office/drawing/2014/main" id="{7F8BCFE0-FC5C-4D4E-8A0D-D19F3391424B}"/>
                  </a:ext>
                </a:extLst>
              </p:cNvPr>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1585;p60">
                <a:extLst>
                  <a:ext uri="{FF2B5EF4-FFF2-40B4-BE49-F238E27FC236}">
                    <a16:creationId xmlns:a16="http://schemas.microsoft.com/office/drawing/2014/main" id="{831AD4A8-7894-48BB-B176-47F43B31A05B}"/>
                  </a:ext>
                </a:extLst>
              </p:cNvPr>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1586;p60">
                <a:extLst>
                  <a:ext uri="{FF2B5EF4-FFF2-40B4-BE49-F238E27FC236}">
                    <a16:creationId xmlns:a16="http://schemas.microsoft.com/office/drawing/2014/main" id="{F23EDC27-26F1-4BC3-82BC-903B0513F1EA}"/>
                  </a:ext>
                </a:extLst>
              </p:cNvPr>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1587;p60">
                <a:extLst>
                  <a:ext uri="{FF2B5EF4-FFF2-40B4-BE49-F238E27FC236}">
                    <a16:creationId xmlns:a16="http://schemas.microsoft.com/office/drawing/2014/main" id="{2FC657C2-B47C-4B6A-8FA7-02066E25647E}"/>
                  </a:ext>
                </a:extLst>
              </p:cNvPr>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1588;p60">
                <a:extLst>
                  <a:ext uri="{FF2B5EF4-FFF2-40B4-BE49-F238E27FC236}">
                    <a16:creationId xmlns:a16="http://schemas.microsoft.com/office/drawing/2014/main" id="{4F55DE59-D583-40AA-B81B-2801E4FB99B0}"/>
                  </a:ext>
                </a:extLst>
              </p:cNvPr>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1589;p60">
                <a:extLst>
                  <a:ext uri="{FF2B5EF4-FFF2-40B4-BE49-F238E27FC236}">
                    <a16:creationId xmlns:a16="http://schemas.microsoft.com/office/drawing/2014/main" id="{048E2AA5-9F2E-4C53-85AB-D89DCA20BB77}"/>
                  </a:ext>
                </a:extLst>
              </p:cNvPr>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1590;p60">
                <a:extLst>
                  <a:ext uri="{FF2B5EF4-FFF2-40B4-BE49-F238E27FC236}">
                    <a16:creationId xmlns:a16="http://schemas.microsoft.com/office/drawing/2014/main" id="{34EA6E36-2AEB-468C-9B26-CA08E767A0AE}"/>
                  </a:ext>
                </a:extLst>
              </p:cNvPr>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1591;p60">
                <a:extLst>
                  <a:ext uri="{FF2B5EF4-FFF2-40B4-BE49-F238E27FC236}">
                    <a16:creationId xmlns:a16="http://schemas.microsoft.com/office/drawing/2014/main" id="{1A74AE4B-5464-46FE-BA8C-D8D9590A6544}"/>
                  </a:ext>
                </a:extLst>
              </p:cNvPr>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 name="Google Shape;12420;p61">
              <a:extLst>
                <a:ext uri="{FF2B5EF4-FFF2-40B4-BE49-F238E27FC236}">
                  <a16:creationId xmlns:a16="http://schemas.microsoft.com/office/drawing/2014/main" id="{B904DFE5-6753-4767-884F-E5F0373D1207}"/>
                </a:ext>
              </a:extLst>
            </p:cNvPr>
            <p:cNvGrpSpPr/>
            <p:nvPr/>
          </p:nvGrpSpPr>
          <p:grpSpPr>
            <a:xfrm>
              <a:off x="7592380" y="2074136"/>
              <a:ext cx="370814" cy="307359"/>
              <a:chOff x="1737258" y="1988371"/>
              <a:chExt cx="370814" cy="307359"/>
            </a:xfrm>
            <a:solidFill>
              <a:schemeClr val="bg1"/>
            </a:solidFill>
          </p:grpSpPr>
          <p:sp>
            <p:nvSpPr>
              <p:cNvPr id="116" name="Google Shape;12421;p61">
                <a:extLst>
                  <a:ext uri="{FF2B5EF4-FFF2-40B4-BE49-F238E27FC236}">
                    <a16:creationId xmlns:a16="http://schemas.microsoft.com/office/drawing/2014/main" id="{A1A69AB5-B739-43BE-84F3-937004BF6E9E}"/>
                  </a:ext>
                </a:extLst>
              </p:cNvPr>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2422;p61">
                <a:extLst>
                  <a:ext uri="{FF2B5EF4-FFF2-40B4-BE49-F238E27FC236}">
                    <a16:creationId xmlns:a16="http://schemas.microsoft.com/office/drawing/2014/main" id="{29A1BE96-1A5C-4A85-BCB5-0E89D1D86E32}"/>
                  </a:ext>
                </a:extLst>
              </p:cNvPr>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2423;p61">
                <a:extLst>
                  <a:ext uri="{FF2B5EF4-FFF2-40B4-BE49-F238E27FC236}">
                    <a16:creationId xmlns:a16="http://schemas.microsoft.com/office/drawing/2014/main" id="{3EE37F9C-1FDA-4A05-AD18-85D308A42547}"/>
                  </a:ext>
                </a:extLst>
              </p:cNvPr>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2424;p61">
                <a:extLst>
                  <a:ext uri="{FF2B5EF4-FFF2-40B4-BE49-F238E27FC236}">
                    <a16:creationId xmlns:a16="http://schemas.microsoft.com/office/drawing/2014/main" id="{8A5C9344-C017-43FF-B895-6984E19130F7}"/>
                  </a:ext>
                </a:extLst>
              </p:cNvPr>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11833;p60">
              <a:extLst>
                <a:ext uri="{FF2B5EF4-FFF2-40B4-BE49-F238E27FC236}">
                  <a16:creationId xmlns:a16="http://schemas.microsoft.com/office/drawing/2014/main" id="{218D81EF-8007-41DA-8F0F-E7576F3DF235}"/>
                </a:ext>
              </a:extLst>
            </p:cNvPr>
            <p:cNvSpPr/>
            <p:nvPr/>
          </p:nvSpPr>
          <p:spPr>
            <a:xfrm>
              <a:off x="9797864" y="2041723"/>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 name="Google Shape;14171;p64">
              <a:extLst>
                <a:ext uri="{FF2B5EF4-FFF2-40B4-BE49-F238E27FC236}">
                  <a16:creationId xmlns:a16="http://schemas.microsoft.com/office/drawing/2014/main" id="{678D5B88-2A15-4F93-A144-EF7C9954282A}"/>
                </a:ext>
              </a:extLst>
            </p:cNvPr>
            <p:cNvGrpSpPr/>
            <p:nvPr/>
          </p:nvGrpSpPr>
          <p:grpSpPr>
            <a:xfrm>
              <a:off x="6630837" y="4433808"/>
              <a:ext cx="352103" cy="352103"/>
              <a:chOff x="1819576" y="1511679"/>
              <a:chExt cx="352103" cy="352103"/>
            </a:xfrm>
            <a:solidFill>
              <a:schemeClr val="bg1"/>
            </a:solidFill>
          </p:grpSpPr>
          <p:sp>
            <p:nvSpPr>
              <p:cNvPr id="112" name="Google Shape;14172;p64">
                <a:extLst>
                  <a:ext uri="{FF2B5EF4-FFF2-40B4-BE49-F238E27FC236}">
                    <a16:creationId xmlns:a16="http://schemas.microsoft.com/office/drawing/2014/main" id="{55013DBC-20AA-4DCF-BEEF-4D2F177696BA}"/>
                  </a:ext>
                </a:extLst>
              </p:cNvPr>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4173;p64">
                <a:extLst>
                  <a:ext uri="{FF2B5EF4-FFF2-40B4-BE49-F238E27FC236}">
                    <a16:creationId xmlns:a16="http://schemas.microsoft.com/office/drawing/2014/main" id="{FA1A42E8-515C-4449-ADCA-E61CFEFC31AE}"/>
                  </a:ext>
                </a:extLst>
              </p:cNvPr>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4174;p64">
                <a:extLst>
                  <a:ext uri="{FF2B5EF4-FFF2-40B4-BE49-F238E27FC236}">
                    <a16:creationId xmlns:a16="http://schemas.microsoft.com/office/drawing/2014/main" id="{D3D49546-CB6A-402E-A218-C2706271039D}"/>
                  </a:ext>
                </a:extLst>
              </p:cNvPr>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5" name="Google Shape;14175;p64">
                <a:extLst>
                  <a:ext uri="{FF2B5EF4-FFF2-40B4-BE49-F238E27FC236}">
                    <a16:creationId xmlns:a16="http://schemas.microsoft.com/office/drawing/2014/main" id="{69DC107D-67C5-49FE-BCDF-9294ED42283F}"/>
                  </a:ext>
                </a:extLst>
              </p:cNvPr>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 name="Google Shape;13780;p64">
              <a:extLst>
                <a:ext uri="{FF2B5EF4-FFF2-40B4-BE49-F238E27FC236}">
                  <a16:creationId xmlns:a16="http://schemas.microsoft.com/office/drawing/2014/main" id="{EA5AB6D7-FC9A-4BB3-8733-FD5D21B24274}"/>
                </a:ext>
              </a:extLst>
            </p:cNvPr>
            <p:cNvGrpSpPr/>
            <p:nvPr/>
          </p:nvGrpSpPr>
          <p:grpSpPr>
            <a:xfrm>
              <a:off x="4333425" y="4455531"/>
              <a:ext cx="422596" cy="310382"/>
              <a:chOff x="2278533" y="2937377"/>
              <a:chExt cx="346788" cy="254704"/>
            </a:xfrm>
            <a:solidFill>
              <a:schemeClr val="bg1"/>
            </a:solidFill>
          </p:grpSpPr>
          <p:sp>
            <p:nvSpPr>
              <p:cNvPr id="110" name="Google Shape;13781;p64">
                <a:extLst>
                  <a:ext uri="{FF2B5EF4-FFF2-40B4-BE49-F238E27FC236}">
                    <a16:creationId xmlns:a16="http://schemas.microsoft.com/office/drawing/2014/main" id="{48FEFB8C-0075-4247-BAEC-4D9F70B8A925}"/>
                  </a:ext>
                </a:extLst>
              </p:cNvPr>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3782;p64">
                <a:extLst>
                  <a:ext uri="{FF2B5EF4-FFF2-40B4-BE49-F238E27FC236}">
                    <a16:creationId xmlns:a16="http://schemas.microsoft.com/office/drawing/2014/main" id="{B142CE9B-CA1F-4C23-9D86-34184A111885}"/>
                  </a:ext>
                </a:extLst>
              </p:cNvPr>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 name="Google Shape;13736;p64">
              <a:extLst>
                <a:ext uri="{FF2B5EF4-FFF2-40B4-BE49-F238E27FC236}">
                  <a16:creationId xmlns:a16="http://schemas.microsoft.com/office/drawing/2014/main" id="{096D5DE0-BDEB-494E-A0B7-5ED247F789B6}"/>
                </a:ext>
              </a:extLst>
            </p:cNvPr>
            <p:cNvGrpSpPr/>
            <p:nvPr/>
          </p:nvGrpSpPr>
          <p:grpSpPr>
            <a:xfrm>
              <a:off x="1947361" y="4446016"/>
              <a:ext cx="289939" cy="334661"/>
              <a:chOff x="4193490" y="3350084"/>
              <a:chExt cx="289939" cy="334661"/>
            </a:xfrm>
            <a:solidFill>
              <a:schemeClr val="bg1"/>
            </a:solidFill>
          </p:grpSpPr>
          <p:sp>
            <p:nvSpPr>
              <p:cNvPr id="100" name="Google Shape;13737;p64">
                <a:extLst>
                  <a:ext uri="{FF2B5EF4-FFF2-40B4-BE49-F238E27FC236}">
                    <a16:creationId xmlns:a16="http://schemas.microsoft.com/office/drawing/2014/main" id="{65916092-E675-4782-BBA8-920F4D1610BF}"/>
                  </a:ext>
                </a:extLst>
              </p:cNvPr>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3738;p64">
                <a:extLst>
                  <a:ext uri="{FF2B5EF4-FFF2-40B4-BE49-F238E27FC236}">
                    <a16:creationId xmlns:a16="http://schemas.microsoft.com/office/drawing/2014/main" id="{2DE75037-C4CF-4120-AFA6-F55DC0B048E7}"/>
                  </a:ext>
                </a:extLst>
              </p:cNvPr>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3739;p64">
                <a:extLst>
                  <a:ext uri="{FF2B5EF4-FFF2-40B4-BE49-F238E27FC236}">
                    <a16:creationId xmlns:a16="http://schemas.microsoft.com/office/drawing/2014/main" id="{E80FB18C-249D-4666-B2C0-040C4EA94EFC}"/>
                  </a:ext>
                </a:extLst>
              </p:cNvPr>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3740;p64">
                <a:extLst>
                  <a:ext uri="{FF2B5EF4-FFF2-40B4-BE49-F238E27FC236}">
                    <a16:creationId xmlns:a16="http://schemas.microsoft.com/office/drawing/2014/main" id="{09C48FE2-E6A7-4F0E-94FF-73EF0D477BC7}"/>
                  </a:ext>
                </a:extLst>
              </p:cNvPr>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3741;p64">
                <a:extLst>
                  <a:ext uri="{FF2B5EF4-FFF2-40B4-BE49-F238E27FC236}">
                    <a16:creationId xmlns:a16="http://schemas.microsoft.com/office/drawing/2014/main" id="{BF780718-D972-47A3-A7AB-A4F55AEC901D}"/>
                  </a:ext>
                </a:extLst>
              </p:cNvPr>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3742;p64">
                <a:extLst>
                  <a:ext uri="{FF2B5EF4-FFF2-40B4-BE49-F238E27FC236}">
                    <a16:creationId xmlns:a16="http://schemas.microsoft.com/office/drawing/2014/main" id="{E4DA03E9-653E-4403-9091-5E239DDF80F6}"/>
                  </a:ext>
                </a:extLst>
              </p:cNvPr>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3743;p64">
                <a:extLst>
                  <a:ext uri="{FF2B5EF4-FFF2-40B4-BE49-F238E27FC236}">
                    <a16:creationId xmlns:a16="http://schemas.microsoft.com/office/drawing/2014/main" id="{33F53795-EABB-436C-9C3E-34AF546A7B1C}"/>
                  </a:ext>
                </a:extLst>
              </p:cNvPr>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3744;p64">
                <a:extLst>
                  <a:ext uri="{FF2B5EF4-FFF2-40B4-BE49-F238E27FC236}">
                    <a16:creationId xmlns:a16="http://schemas.microsoft.com/office/drawing/2014/main" id="{FB84FDAB-285E-4387-970B-071E3722F27A}"/>
                  </a:ext>
                </a:extLst>
              </p:cNvPr>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3745;p64">
                <a:extLst>
                  <a:ext uri="{FF2B5EF4-FFF2-40B4-BE49-F238E27FC236}">
                    <a16:creationId xmlns:a16="http://schemas.microsoft.com/office/drawing/2014/main" id="{6D6D94CF-BF52-4BB9-8F20-7DFB4153F42E}"/>
                  </a:ext>
                </a:extLst>
              </p:cNvPr>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3746;p64">
                <a:extLst>
                  <a:ext uri="{FF2B5EF4-FFF2-40B4-BE49-F238E27FC236}">
                    <a16:creationId xmlns:a16="http://schemas.microsoft.com/office/drawing/2014/main" id="{EFDAE815-D818-42E9-A726-23FE26FF2747}"/>
                  </a:ext>
                </a:extLst>
              </p:cNvPr>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502;p28">
              <a:extLst>
                <a:ext uri="{FF2B5EF4-FFF2-40B4-BE49-F238E27FC236}">
                  <a16:creationId xmlns:a16="http://schemas.microsoft.com/office/drawing/2014/main" id="{C2C8B262-F793-408F-8677-9F2EA3DF188F}"/>
                </a:ext>
              </a:extLst>
            </p:cNvPr>
            <p:cNvSpPr txBox="1">
              <a:spLocks/>
            </p:cNvSpPr>
            <p:nvPr/>
          </p:nvSpPr>
          <p:spPr>
            <a:xfrm>
              <a:off x="8438419" y="5128941"/>
              <a:ext cx="1846455" cy="7511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1pPr>
              <a:lvl2pPr marL="914400" marR="0" lvl="1"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2pPr>
              <a:lvl3pPr marL="1371600" marR="0" lvl="2"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3pPr>
              <a:lvl4pPr marL="1828800" marR="0" lvl="3"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4pPr>
              <a:lvl5pPr marL="2286000" marR="0" lvl="4"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5pPr>
              <a:lvl6pPr marL="2743200" marR="0" lvl="5"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6pPr>
              <a:lvl7pPr marL="3200400" marR="0" lvl="6"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7pPr>
              <a:lvl8pPr marL="3657600" marR="0" lvl="7"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8pPr>
              <a:lvl9pPr marL="4114800" marR="0" lvl="8" indent="-330200" algn="l" rtl="0">
                <a:lnSpc>
                  <a:spcPct val="100000"/>
                </a:lnSpc>
                <a:spcBef>
                  <a:spcPts val="0"/>
                </a:spcBef>
                <a:spcAft>
                  <a:spcPts val="0"/>
                </a:spcAft>
                <a:buClr>
                  <a:schemeClr val="dk2"/>
                </a:buClr>
                <a:buSzPts val="1600"/>
                <a:buFont typeface="Roboto"/>
                <a:buChar char="■"/>
                <a:defRPr sz="1600" b="0" i="0" u="none" strike="noStrike" cap="none">
                  <a:solidFill>
                    <a:schemeClr val="dk2"/>
                  </a:solidFill>
                  <a:latin typeface="Roboto"/>
                  <a:ea typeface="Roboto"/>
                  <a:cs typeface="Roboto"/>
                  <a:sym typeface="Roboto"/>
                </a:defRPr>
              </a:lvl9pPr>
            </a:lstStyle>
            <a:p>
              <a:pPr marL="0" indent="0" algn="ctr">
                <a:buNone/>
              </a:pPr>
              <a:r>
                <a:rPr lang="en-ID" sz="1100" dirty="0" err="1"/>
                <a:t>Pedoman</a:t>
              </a:r>
              <a:r>
                <a:rPr lang="en-ID" sz="1100" dirty="0"/>
                <a:t> </a:t>
              </a:r>
              <a:r>
                <a:rPr lang="en-ID" sz="1100" i="1" dirty="0"/>
                <a:t>Assessment</a:t>
              </a:r>
              <a:r>
                <a:rPr lang="en-ID" sz="1100" dirty="0"/>
                <a:t> </a:t>
              </a:r>
            </a:p>
            <a:p>
              <a:pPr marL="0" indent="0" algn="ctr">
                <a:buNone/>
              </a:pPr>
              <a:r>
                <a:rPr lang="en-ID" sz="1100" dirty="0"/>
                <a:t>Tata </a:t>
              </a:r>
              <a:r>
                <a:rPr lang="en-ID" sz="1100" dirty="0" err="1"/>
                <a:t>Kelola</a:t>
              </a:r>
              <a:r>
                <a:rPr lang="en-ID" sz="1100" dirty="0"/>
                <a:t> TI</a:t>
              </a:r>
            </a:p>
          </p:txBody>
        </p:sp>
        <p:grpSp>
          <p:nvGrpSpPr>
            <p:cNvPr id="82" name="Google Shape;14147;p64">
              <a:extLst>
                <a:ext uri="{FF2B5EF4-FFF2-40B4-BE49-F238E27FC236}">
                  <a16:creationId xmlns:a16="http://schemas.microsoft.com/office/drawing/2014/main" id="{04823ABC-5CF7-4AB2-8193-079C12344D00}"/>
                </a:ext>
              </a:extLst>
            </p:cNvPr>
            <p:cNvGrpSpPr/>
            <p:nvPr/>
          </p:nvGrpSpPr>
          <p:grpSpPr>
            <a:xfrm>
              <a:off x="9203116" y="4412448"/>
              <a:ext cx="252444" cy="351722"/>
              <a:chOff x="1394741" y="1512061"/>
              <a:chExt cx="252444" cy="351722"/>
            </a:xfrm>
            <a:solidFill>
              <a:schemeClr val="bg1"/>
            </a:solidFill>
          </p:grpSpPr>
          <p:sp>
            <p:nvSpPr>
              <p:cNvPr id="83" name="Google Shape;14148;p64">
                <a:extLst>
                  <a:ext uri="{FF2B5EF4-FFF2-40B4-BE49-F238E27FC236}">
                    <a16:creationId xmlns:a16="http://schemas.microsoft.com/office/drawing/2014/main" id="{3E92B1B6-32F4-457F-A710-5F7C79180152}"/>
                  </a:ext>
                </a:extLst>
              </p:cNvPr>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4149;p64">
                <a:extLst>
                  <a:ext uri="{FF2B5EF4-FFF2-40B4-BE49-F238E27FC236}">
                    <a16:creationId xmlns:a16="http://schemas.microsoft.com/office/drawing/2014/main" id="{BB231F73-C941-4A38-8FA0-25A11CD10C52}"/>
                  </a:ext>
                </a:extLst>
              </p:cNvPr>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4150;p64">
                <a:extLst>
                  <a:ext uri="{FF2B5EF4-FFF2-40B4-BE49-F238E27FC236}">
                    <a16:creationId xmlns:a16="http://schemas.microsoft.com/office/drawing/2014/main" id="{3C14EC95-D619-45A5-B07B-837053132D6D}"/>
                  </a:ext>
                </a:extLst>
              </p:cNvPr>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4151;p64">
                <a:extLst>
                  <a:ext uri="{FF2B5EF4-FFF2-40B4-BE49-F238E27FC236}">
                    <a16:creationId xmlns:a16="http://schemas.microsoft.com/office/drawing/2014/main" id="{28E50BA8-BB2D-4A79-8768-4DAF377748F3}"/>
                  </a:ext>
                </a:extLst>
              </p:cNvPr>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4152;p64">
                <a:extLst>
                  <a:ext uri="{FF2B5EF4-FFF2-40B4-BE49-F238E27FC236}">
                    <a16:creationId xmlns:a16="http://schemas.microsoft.com/office/drawing/2014/main" id="{8A1D6E32-94AE-461F-95F1-26E91BD00A93}"/>
                  </a:ext>
                </a:extLst>
              </p:cNvPr>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4153;p64">
                <a:extLst>
                  <a:ext uri="{FF2B5EF4-FFF2-40B4-BE49-F238E27FC236}">
                    <a16:creationId xmlns:a16="http://schemas.microsoft.com/office/drawing/2014/main" id="{24B15E5F-D9D5-4CEB-AE0D-3D194F02DBDA}"/>
                  </a:ext>
                </a:extLst>
              </p:cNvPr>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4154;p64">
                <a:extLst>
                  <a:ext uri="{FF2B5EF4-FFF2-40B4-BE49-F238E27FC236}">
                    <a16:creationId xmlns:a16="http://schemas.microsoft.com/office/drawing/2014/main" id="{0ED9B2BD-80A6-4564-8502-454AA07FA140}"/>
                  </a:ext>
                </a:extLst>
              </p:cNvPr>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4155;p64">
                <a:extLst>
                  <a:ext uri="{FF2B5EF4-FFF2-40B4-BE49-F238E27FC236}">
                    <a16:creationId xmlns:a16="http://schemas.microsoft.com/office/drawing/2014/main" id="{80E627AB-508A-431B-B949-0C6B713F7D28}"/>
                  </a:ext>
                </a:extLst>
              </p:cNvPr>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4156;p64">
                <a:extLst>
                  <a:ext uri="{FF2B5EF4-FFF2-40B4-BE49-F238E27FC236}">
                    <a16:creationId xmlns:a16="http://schemas.microsoft.com/office/drawing/2014/main" id="{F13ECF83-603C-4BBB-ACC1-431226FF5705}"/>
                  </a:ext>
                </a:extLst>
              </p:cNvPr>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4157;p64">
                <a:extLst>
                  <a:ext uri="{FF2B5EF4-FFF2-40B4-BE49-F238E27FC236}">
                    <a16:creationId xmlns:a16="http://schemas.microsoft.com/office/drawing/2014/main" id="{DC41E998-B394-410E-91E7-F598C4E47E27}"/>
                  </a:ext>
                </a:extLst>
              </p:cNvPr>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4158;p64">
                <a:extLst>
                  <a:ext uri="{FF2B5EF4-FFF2-40B4-BE49-F238E27FC236}">
                    <a16:creationId xmlns:a16="http://schemas.microsoft.com/office/drawing/2014/main" id="{BFCCE37E-9E73-4AFF-9C1A-681C66572D85}"/>
                  </a:ext>
                </a:extLst>
              </p:cNvPr>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4159;p64">
                <a:extLst>
                  <a:ext uri="{FF2B5EF4-FFF2-40B4-BE49-F238E27FC236}">
                    <a16:creationId xmlns:a16="http://schemas.microsoft.com/office/drawing/2014/main" id="{2471A096-8921-4CC8-BD51-5094D6624915}"/>
                  </a:ext>
                </a:extLst>
              </p:cNvPr>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4160;p64">
                <a:extLst>
                  <a:ext uri="{FF2B5EF4-FFF2-40B4-BE49-F238E27FC236}">
                    <a16:creationId xmlns:a16="http://schemas.microsoft.com/office/drawing/2014/main" id="{FD0D5AAE-3DC1-405B-B3D7-9B1FBB719EAA}"/>
                  </a:ext>
                </a:extLst>
              </p:cNvPr>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4161;p64">
                <a:extLst>
                  <a:ext uri="{FF2B5EF4-FFF2-40B4-BE49-F238E27FC236}">
                    <a16:creationId xmlns:a16="http://schemas.microsoft.com/office/drawing/2014/main" id="{3B8BDBEF-89D8-44EA-96C9-1B27802EC414}"/>
                  </a:ext>
                </a:extLst>
              </p:cNvPr>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4162;p64">
                <a:extLst>
                  <a:ext uri="{FF2B5EF4-FFF2-40B4-BE49-F238E27FC236}">
                    <a16:creationId xmlns:a16="http://schemas.microsoft.com/office/drawing/2014/main" id="{57105C1A-6682-4CEF-B18E-4C1F5DECD378}"/>
                  </a:ext>
                </a:extLst>
              </p:cNvPr>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4163;p64">
                <a:extLst>
                  <a:ext uri="{FF2B5EF4-FFF2-40B4-BE49-F238E27FC236}">
                    <a16:creationId xmlns:a16="http://schemas.microsoft.com/office/drawing/2014/main" id="{1368F8EB-A72B-41CD-88FB-5A2B291315F1}"/>
                  </a:ext>
                </a:extLst>
              </p:cNvPr>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4164;p64">
                <a:extLst>
                  <a:ext uri="{FF2B5EF4-FFF2-40B4-BE49-F238E27FC236}">
                    <a16:creationId xmlns:a16="http://schemas.microsoft.com/office/drawing/2014/main" id="{50F33D01-3B39-414C-9733-AD16A789FE80}"/>
                  </a:ext>
                </a:extLst>
              </p:cNvPr>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35888384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err="1"/>
              <a:t>Gambaran</a:t>
            </a:r>
            <a:r>
              <a:rPr lang="en-US" dirty="0"/>
              <a:t> </a:t>
            </a:r>
            <a:r>
              <a:rPr lang="en-US" dirty="0" err="1"/>
              <a:t>Umum</a:t>
            </a:r>
            <a:r>
              <a:rPr lang="en-US" dirty="0"/>
              <a:t> DA </a:t>
            </a:r>
            <a:r>
              <a:rPr lang="en-US" dirty="0" err="1"/>
              <a:t>Inspektorat</a:t>
            </a:r>
            <a:r>
              <a:rPr lang="en-US" dirty="0"/>
              <a:t> </a:t>
            </a:r>
            <a:r>
              <a:rPr lang="en-US" dirty="0" err="1"/>
              <a:t>Jenderal</a:t>
            </a:r>
            <a:endParaRPr lang="en-US" dirty="0"/>
          </a:p>
        </p:txBody>
      </p:sp>
      <p:pic>
        <p:nvPicPr>
          <p:cNvPr id="2" name="Picture 1">
            <a:extLst>
              <a:ext uri="{FF2B5EF4-FFF2-40B4-BE49-F238E27FC236}">
                <a16:creationId xmlns:a16="http://schemas.microsoft.com/office/drawing/2014/main" id="{820F3D19-59F5-4111-B9DF-DA957FD0473B}"/>
              </a:ext>
            </a:extLst>
          </p:cNvPr>
          <p:cNvPicPr>
            <a:picLocks noChangeAspect="1"/>
          </p:cNvPicPr>
          <p:nvPr/>
        </p:nvPicPr>
        <p:blipFill>
          <a:blip r:embed="rId2"/>
          <a:stretch>
            <a:fillRect/>
          </a:stretch>
        </p:blipFill>
        <p:spPr>
          <a:xfrm>
            <a:off x="23857" y="797629"/>
            <a:ext cx="12144285" cy="5688061"/>
          </a:xfrm>
          <a:prstGeom prst="rect">
            <a:avLst/>
          </a:prstGeom>
        </p:spPr>
      </p:pic>
    </p:spTree>
    <p:extLst>
      <p:ext uri="{BB962C8B-B14F-4D97-AF65-F5344CB8AC3E}">
        <p14:creationId xmlns:p14="http://schemas.microsoft.com/office/powerpoint/2010/main" val="20911458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3C08B-A953-A53E-4454-44405F774A44}"/>
              </a:ext>
            </a:extLst>
          </p:cNvPr>
          <p:cNvSpPr>
            <a:spLocks noGrp="1"/>
          </p:cNvSpPr>
          <p:nvPr>
            <p:ph type="title"/>
          </p:nvPr>
        </p:nvSpPr>
        <p:spPr>
          <a:xfrm>
            <a:off x="1545673" y="113687"/>
            <a:ext cx="9100654" cy="898576"/>
          </a:xfrm>
        </p:spPr>
        <p:txBody>
          <a:bodyPr/>
          <a:lstStyle/>
          <a:p>
            <a:r>
              <a:rPr lang="en-US" dirty="0"/>
              <a:t>Alur </a:t>
            </a:r>
            <a:r>
              <a:rPr lang="en-US" dirty="0" err="1"/>
              <a:t>Umum</a:t>
            </a:r>
            <a:r>
              <a:rPr lang="en-US" dirty="0"/>
              <a:t> AA </a:t>
            </a:r>
            <a:r>
              <a:rPr lang="en-US" dirty="0" err="1"/>
              <a:t>Itjen</a:t>
            </a:r>
            <a:endParaRPr lang="en-US" dirty="0"/>
          </a:p>
        </p:txBody>
      </p:sp>
      <p:grpSp>
        <p:nvGrpSpPr>
          <p:cNvPr id="20" name="Group 19">
            <a:extLst>
              <a:ext uri="{FF2B5EF4-FFF2-40B4-BE49-F238E27FC236}">
                <a16:creationId xmlns:a16="http://schemas.microsoft.com/office/drawing/2014/main" id="{32799133-0C54-114C-2F7A-2AB3768C1608}"/>
              </a:ext>
            </a:extLst>
          </p:cNvPr>
          <p:cNvGrpSpPr/>
          <p:nvPr/>
        </p:nvGrpSpPr>
        <p:grpSpPr>
          <a:xfrm>
            <a:off x="378799" y="985275"/>
            <a:ext cx="11442337" cy="5443181"/>
            <a:chOff x="378799" y="985275"/>
            <a:chExt cx="11442337" cy="5443181"/>
          </a:xfrm>
        </p:grpSpPr>
        <p:sp>
          <p:nvSpPr>
            <p:cNvPr id="151" name="Rectangle: Rounded Corners 150">
              <a:extLst>
                <a:ext uri="{FF2B5EF4-FFF2-40B4-BE49-F238E27FC236}">
                  <a16:creationId xmlns:a16="http://schemas.microsoft.com/office/drawing/2014/main" id="{A4259D44-DD8A-AB97-B2AD-B9639AB816DF}"/>
                </a:ext>
              </a:extLst>
            </p:cNvPr>
            <p:cNvSpPr/>
            <p:nvPr/>
          </p:nvSpPr>
          <p:spPr>
            <a:xfrm>
              <a:off x="378799" y="985275"/>
              <a:ext cx="3195375" cy="5443181"/>
            </a:xfrm>
            <a:prstGeom prst="roundRect">
              <a:avLst>
                <a:gd name="adj" fmla="val 9434"/>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bg2"/>
                  </a:solidFill>
                </a:rPr>
                <a:t>TAHAP PENGEMBANGAN</a:t>
              </a:r>
            </a:p>
          </p:txBody>
        </p:sp>
        <p:sp>
          <p:nvSpPr>
            <p:cNvPr id="152" name="Rectangle: Rounded Corners 151">
              <a:extLst>
                <a:ext uri="{FF2B5EF4-FFF2-40B4-BE49-F238E27FC236}">
                  <a16:creationId xmlns:a16="http://schemas.microsoft.com/office/drawing/2014/main" id="{91CB5C3B-598C-36ED-910A-76AC94FCAD8F}"/>
                </a:ext>
              </a:extLst>
            </p:cNvPr>
            <p:cNvSpPr/>
            <p:nvPr/>
          </p:nvSpPr>
          <p:spPr>
            <a:xfrm>
              <a:off x="4502280" y="985275"/>
              <a:ext cx="3195375" cy="5443181"/>
            </a:xfrm>
            <a:prstGeom prst="roundRect">
              <a:avLst>
                <a:gd name="adj" fmla="val 9434"/>
              </a:avLst>
            </a:prstGeom>
            <a:solidFill>
              <a:schemeClr val="bg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bg2"/>
                  </a:solidFill>
                </a:rPr>
                <a:t>OUTPUT AA</a:t>
              </a:r>
            </a:p>
          </p:txBody>
        </p:sp>
        <p:sp>
          <p:nvSpPr>
            <p:cNvPr id="153" name="Rectangle: Rounded Corners 152">
              <a:extLst>
                <a:ext uri="{FF2B5EF4-FFF2-40B4-BE49-F238E27FC236}">
                  <a16:creationId xmlns:a16="http://schemas.microsoft.com/office/drawing/2014/main" id="{1699172E-2AC6-3EC3-7CE5-B0C4930AE7F4}"/>
                </a:ext>
              </a:extLst>
            </p:cNvPr>
            <p:cNvSpPr/>
            <p:nvPr/>
          </p:nvSpPr>
          <p:spPr>
            <a:xfrm>
              <a:off x="8625761" y="985275"/>
              <a:ext cx="3195375" cy="5443181"/>
            </a:xfrm>
            <a:prstGeom prst="roundRect">
              <a:avLst>
                <a:gd name="adj" fmla="val 9434"/>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bg2"/>
                  </a:solidFill>
                </a:rPr>
                <a:t>PEMANFAATAN AA </a:t>
              </a:r>
              <a:r>
                <a:rPr lang="en-US" b="1" dirty="0">
                  <a:solidFill>
                    <a:schemeClr val="bg2"/>
                  </a:solidFill>
                </a:rPr>
                <a:t>(FRAMEWORK PENGAWASAN)</a:t>
              </a:r>
              <a:endParaRPr lang="en-US" sz="2000" b="1" dirty="0">
                <a:solidFill>
                  <a:schemeClr val="bg2"/>
                </a:solidFill>
              </a:endParaRPr>
            </a:p>
          </p:txBody>
        </p:sp>
        <p:cxnSp>
          <p:nvCxnSpPr>
            <p:cNvPr id="40" name="Straight Arrow Connector 39">
              <a:extLst>
                <a:ext uri="{FF2B5EF4-FFF2-40B4-BE49-F238E27FC236}">
                  <a16:creationId xmlns:a16="http://schemas.microsoft.com/office/drawing/2014/main" id="{02BCD1E5-C753-6976-3593-5D45DECD55C7}"/>
                </a:ext>
              </a:extLst>
            </p:cNvPr>
            <p:cNvCxnSpPr>
              <a:cxnSpLocks/>
              <a:stCxn id="6" idx="3"/>
              <a:endCxn id="36" idx="1"/>
            </p:cNvCxnSpPr>
            <p:nvPr/>
          </p:nvCxnSpPr>
          <p:spPr>
            <a:xfrm>
              <a:off x="3112785" y="4328257"/>
              <a:ext cx="1807030" cy="0"/>
            </a:xfrm>
            <a:prstGeom prst="straightConnector1">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39">
              <a:extLst>
                <a:ext uri="{FF2B5EF4-FFF2-40B4-BE49-F238E27FC236}">
                  <a16:creationId xmlns:a16="http://schemas.microsoft.com/office/drawing/2014/main" id="{4E9CAE3B-48BF-3D4C-6A99-82A25087AF5F}"/>
                </a:ext>
              </a:extLst>
            </p:cNvPr>
            <p:cNvCxnSpPr>
              <a:cxnSpLocks/>
              <a:stCxn id="4" idx="3"/>
              <a:endCxn id="38" idx="1"/>
            </p:cNvCxnSpPr>
            <p:nvPr/>
          </p:nvCxnSpPr>
          <p:spPr>
            <a:xfrm>
              <a:off x="3121945" y="5565169"/>
              <a:ext cx="1807032" cy="430863"/>
            </a:xfrm>
            <a:prstGeom prst="bentConnector3">
              <a:avLst>
                <a:gd name="adj1" fmla="val 50000"/>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2A1A648-E981-51F8-D922-E832CF60973C}"/>
                </a:ext>
              </a:extLst>
            </p:cNvPr>
            <p:cNvCxnSpPr>
              <a:cxnSpLocks/>
              <a:stCxn id="5" idx="3"/>
              <a:endCxn id="37" idx="1"/>
            </p:cNvCxnSpPr>
            <p:nvPr/>
          </p:nvCxnSpPr>
          <p:spPr>
            <a:xfrm>
              <a:off x="3112784" y="2325242"/>
              <a:ext cx="1807030" cy="516897"/>
            </a:xfrm>
            <a:prstGeom prst="bentConnector3">
              <a:avLst>
                <a:gd name="adj1" fmla="val 50000"/>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3">
              <a:extLst>
                <a:ext uri="{FF2B5EF4-FFF2-40B4-BE49-F238E27FC236}">
                  <a16:creationId xmlns:a16="http://schemas.microsoft.com/office/drawing/2014/main" id="{40413CFB-F3E1-5568-92E2-3EAA4E2183DE}"/>
                </a:ext>
              </a:extLst>
            </p:cNvPr>
            <p:cNvCxnSpPr>
              <a:cxnSpLocks/>
              <a:stCxn id="7" idx="3"/>
              <a:endCxn id="37" idx="1"/>
            </p:cNvCxnSpPr>
            <p:nvPr/>
          </p:nvCxnSpPr>
          <p:spPr>
            <a:xfrm flipV="1">
              <a:off x="3112784" y="2842139"/>
              <a:ext cx="1807030" cy="484995"/>
            </a:xfrm>
            <a:prstGeom prst="bentConnector3">
              <a:avLst>
                <a:gd name="adj1" fmla="val 50000"/>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39">
              <a:extLst>
                <a:ext uri="{FF2B5EF4-FFF2-40B4-BE49-F238E27FC236}">
                  <a16:creationId xmlns:a16="http://schemas.microsoft.com/office/drawing/2014/main" id="{DFD9467E-C518-615F-A4D6-4A07C5CACF62}"/>
                </a:ext>
              </a:extLst>
            </p:cNvPr>
            <p:cNvCxnSpPr>
              <a:cxnSpLocks/>
              <a:stCxn id="4" idx="3"/>
              <a:endCxn id="39" idx="1"/>
            </p:cNvCxnSpPr>
            <p:nvPr/>
          </p:nvCxnSpPr>
          <p:spPr>
            <a:xfrm flipV="1">
              <a:off x="3121945" y="5164465"/>
              <a:ext cx="1810333" cy="400704"/>
            </a:xfrm>
            <a:prstGeom prst="bentConnector3">
              <a:avLst>
                <a:gd name="adj1" fmla="val 50000"/>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39">
              <a:extLst>
                <a:ext uri="{FF2B5EF4-FFF2-40B4-BE49-F238E27FC236}">
                  <a16:creationId xmlns:a16="http://schemas.microsoft.com/office/drawing/2014/main" id="{878F0CCC-8618-ABF1-37A4-44A6191E60AB}"/>
                </a:ext>
              </a:extLst>
            </p:cNvPr>
            <p:cNvCxnSpPr>
              <a:cxnSpLocks/>
              <a:stCxn id="39" idx="3"/>
              <a:endCxn id="111" idx="1"/>
            </p:cNvCxnSpPr>
            <p:nvPr/>
          </p:nvCxnSpPr>
          <p:spPr>
            <a:xfrm>
              <a:off x="7284649" y="5164465"/>
              <a:ext cx="1803727" cy="755366"/>
            </a:xfrm>
            <a:prstGeom prst="bentConnector3">
              <a:avLst>
                <a:gd name="adj1" fmla="val 50000"/>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39">
              <a:extLst>
                <a:ext uri="{FF2B5EF4-FFF2-40B4-BE49-F238E27FC236}">
                  <a16:creationId xmlns:a16="http://schemas.microsoft.com/office/drawing/2014/main" id="{3858C8CC-F768-24B3-2AED-E87947B5924B}"/>
                </a:ext>
              </a:extLst>
            </p:cNvPr>
            <p:cNvCxnSpPr>
              <a:cxnSpLocks/>
              <a:stCxn id="37" idx="3"/>
              <a:endCxn id="112" idx="1"/>
            </p:cNvCxnSpPr>
            <p:nvPr/>
          </p:nvCxnSpPr>
          <p:spPr>
            <a:xfrm flipV="1">
              <a:off x="7272185" y="2109209"/>
              <a:ext cx="1807028" cy="732930"/>
            </a:xfrm>
            <a:prstGeom prst="bentConnector3">
              <a:avLst>
                <a:gd name="adj1" fmla="val 32256"/>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39">
              <a:extLst>
                <a:ext uri="{FF2B5EF4-FFF2-40B4-BE49-F238E27FC236}">
                  <a16:creationId xmlns:a16="http://schemas.microsoft.com/office/drawing/2014/main" id="{86222D6B-95E2-3D8D-847F-30C91D3C0043}"/>
                </a:ext>
              </a:extLst>
            </p:cNvPr>
            <p:cNvCxnSpPr>
              <a:cxnSpLocks/>
              <a:stCxn id="36" idx="3"/>
              <a:endCxn id="115" idx="1"/>
            </p:cNvCxnSpPr>
            <p:nvPr/>
          </p:nvCxnSpPr>
          <p:spPr>
            <a:xfrm>
              <a:off x="7272186" y="4328257"/>
              <a:ext cx="1807028" cy="2490"/>
            </a:xfrm>
            <a:prstGeom prst="bentConnector3">
              <a:avLst>
                <a:gd name="adj1" fmla="val 50000"/>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CCB9C0A-48BD-BAC7-7C94-A9373C890B9B}"/>
                </a:ext>
              </a:extLst>
            </p:cNvPr>
            <p:cNvGrpSpPr/>
            <p:nvPr/>
          </p:nvGrpSpPr>
          <p:grpSpPr>
            <a:xfrm>
              <a:off x="769576" y="4790839"/>
              <a:ext cx="10671171" cy="1578818"/>
              <a:chOff x="760413" y="1764649"/>
              <a:chExt cx="10671171" cy="1578818"/>
            </a:xfrm>
          </p:grpSpPr>
          <p:sp>
            <p:nvSpPr>
              <p:cNvPr id="4" name="Rectangle: Rounded Corners 3">
                <a:extLst>
                  <a:ext uri="{FF2B5EF4-FFF2-40B4-BE49-F238E27FC236}">
                    <a16:creationId xmlns:a16="http://schemas.microsoft.com/office/drawing/2014/main" id="{1CCC3537-390E-9809-45C8-B35309B44194}"/>
                  </a:ext>
                </a:extLst>
              </p:cNvPr>
              <p:cNvSpPr/>
              <p:nvPr/>
            </p:nvSpPr>
            <p:spPr>
              <a:xfrm>
                <a:off x="760413" y="2165353"/>
                <a:ext cx="2352369" cy="747251"/>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rPr>
                  <a:t>Data Science Project</a:t>
                </a:r>
              </a:p>
            </p:txBody>
          </p:sp>
          <p:sp>
            <p:nvSpPr>
              <p:cNvPr id="38" name="Rectangle: Rounded Corners 37">
                <a:extLst>
                  <a:ext uri="{FF2B5EF4-FFF2-40B4-BE49-F238E27FC236}">
                    <a16:creationId xmlns:a16="http://schemas.microsoft.com/office/drawing/2014/main" id="{00F06160-EB06-A117-4E0D-118E1113023E}"/>
                  </a:ext>
                </a:extLst>
              </p:cNvPr>
              <p:cNvSpPr/>
              <p:nvPr/>
            </p:nvSpPr>
            <p:spPr>
              <a:xfrm>
                <a:off x="4919814" y="2596216"/>
                <a:ext cx="2352371" cy="74725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err="1">
                    <a:solidFill>
                      <a:schemeClr val="bg2"/>
                    </a:solidFill>
                  </a:rPr>
                  <a:t>Kegiatan</a:t>
                </a:r>
                <a:r>
                  <a:rPr lang="en-US" sz="1800" b="1" dirty="0">
                    <a:solidFill>
                      <a:schemeClr val="bg2"/>
                    </a:solidFill>
                  </a:rPr>
                  <a:t> </a:t>
                </a:r>
                <a:r>
                  <a:rPr lang="en-US" sz="1800" b="1" dirty="0" err="1">
                    <a:solidFill>
                      <a:schemeClr val="bg2"/>
                    </a:solidFill>
                  </a:rPr>
                  <a:t>Diseminasi</a:t>
                </a:r>
                <a:r>
                  <a:rPr lang="en-US" sz="1800" b="1" dirty="0">
                    <a:solidFill>
                      <a:schemeClr val="bg2"/>
                    </a:solidFill>
                  </a:rPr>
                  <a:t> Paper</a:t>
                </a:r>
              </a:p>
            </p:txBody>
          </p:sp>
          <p:sp>
            <p:nvSpPr>
              <p:cNvPr id="39" name="Rectangle: Rounded Corners 38">
                <a:extLst>
                  <a:ext uri="{FF2B5EF4-FFF2-40B4-BE49-F238E27FC236}">
                    <a16:creationId xmlns:a16="http://schemas.microsoft.com/office/drawing/2014/main" id="{383396DB-00F0-8563-9296-831C333F9094}"/>
                  </a:ext>
                </a:extLst>
              </p:cNvPr>
              <p:cNvSpPr/>
              <p:nvPr/>
            </p:nvSpPr>
            <p:spPr>
              <a:xfrm>
                <a:off x="4923115" y="1764649"/>
                <a:ext cx="2352371" cy="74725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err="1">
                    <a:solidFill>
                      <a:schemeClr val="bg2"/>
                    </a:solidFill>
                  </a:rPr>
                  <a:t>Mesin</a:t>
                </a:r>
                <a:r>
                  <a:rPr lang="en-US" sz="1800" b="1" dirty="0">
                    <a:solidFill>
                      <a:schemeClr val="bg2"/>
                    </a:solidFill>
                  </a:rPr>
                  <a:t> </a:t>
                </a:r>
                <a:r>
                  <a:rPr lang="en-US" sz="1800" b="1" dirty="0" err="1">
                    <a:solidFill>
                      <a:schemeClr val="bg2"/>
                    </a:solidFill>
                  </a:rPr>
                  <a:t>Prediksi</a:t>
                </a:r>
                <a:endParaRPr lang="en-US" sz="1800" b="1" dirty="0">
                  <a:solidFill>
                    <a:schemeClr val="bg2"/>
                  </a:solidFill>
                </a:endParaRPr>
              </a:p>
            </p:txBody>
          </p:sp>
          <p:sp>
            <p:nvSpPr>
              <p:cNvPr id="110" name="Rectangle: Rounded Corners 109">
                <a:extLst>
                  <a:ext uri="{FF2B5EF4-FFF2-40B4-BE49-F238E27FC236}">
                    <a16:creationId xmlns:a16="http://schemas.microsoft.com/office/drawing/2014/main" id="{CE6F864F-4286-D67E-0732-A8421BD76E3D}"/>
                  </a:ext>
                </a:extLst>
              </p:cNvPr>
              <p:cNvSpPr/>
              <p:nvPr/>
            </p:nvSpPr>
            <p:spPr>
              <a:xfrm>
                <a:off x="9079213" y="1790049"/>
                <a:ext cx="2352371" cy="702078"/>
              </a:xfrm>
              <a:prstGeom prst="roundRect">
                <a:avLst/>
              </a:prstGeom>
              <a:solidFill>
                <a:schemeClr val="accent6">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US" sz="2200" kern="1200" dirty="0" err="1">
                    <a:solidFill>
                      <a:schemeClr val="bg2"/>
                    </a:solidFill>
                  </a:rPr>
                  <a:t>Dukman</a:t>
                </a:r>
                <a:r>
                  <a:rPr lang="en-US" sz="2200" kern="1200" dirty="0">
                    <a:solidFill>
                      <a:schemeClr val="bg2"/>
                    </a:solidFill>
                  </a:rPr>
                  <a:t> </a:t>
                </a:r>
                <a:r>
                  <a:rPr lang="en-US" sz="2200" kern="1200" dirty="0" err="1">
                    <a:solidFill>
                      <a:schemeClr val="bg2"/>
                    </a:solidFill>
                  </a:rPr>
                  <a:t>Itjen</a:t>
                </a:r>
                <a:endParaRPr lang="en-US" sz="2200" kern="1200" dirty="0">
                  <a:solidFill>
                    <a:schemeClr val="bg2"/>
                  </a:solidFill>
                </a:endParaRPr>
              </a:p>
            </p:txBody>
          </p:sp>
          <p:sp>
            <p:nvSpPr>
              <p:cNvPr id="111" name="Rectangle: Rounded Corners 110">
                <a:extLst>
                  <a:ext uri="{FF2B5EF4-FFF2-40B4-BE49-F238E27FC236}">
                    <a16:creationId xmlns:a16="http://schemas.microsoft.com/office/drawing/2014/main" id="{302837DF-2ECE-4083-5907-B21728995453}"/>
                  </a:ext>
                </a:extLst>
              </p:cNvPr>
              <p:cNvSpPr/>
              <p:nvPr/>
            </p:nvSpPr>
            <p:spPr>
              <a:xfrm>
                <a:off x="9079213" y="2542602"/>
                <a:ext cx="2352371" cy="702078"/>
              </a:xfrm>
              <a:prstGeom prst="roundRect">
                <a:avLst/>
              </a:prstGeom>
              <a:solidFill>
                <a:schemeClr val="accent4">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US" sz="2200" kern="1200" dirty="0" err="1">
                    <a:solidFill>
                      <a:schemeClr val="bg2"/>
                    </a:solidFill>
                  </a:rPr>
                  <a:t>Kegiatan</a:t>
                </a:r>
                <a:r>
                  <a:rPr lang="en-US" sz="2200" kern="1200" dirty="0">
                    <a:solidFill>
                      <a:schemeClr val="bg2"/>
                    </a:solidFill>
                  </a:rPr>
                  <a:t> </a:t>
                </a:r>
                <a:r>
                  <a:rPr lang="en-US" sz="2200" kern="1200" dirty="0" err="1">
                    <a:solidFill>
                      <a:schemeClr val="bg2"/>
                    </a:solidFill>
                  </a:rPr>
                  <a:t>Konsultansi</a:t>
                </a:r>
                <a:endParaRPr lang="en-US" sz="2200" kern="1200" dirty="0">
                  <a:solidFill>
                    <a:schemeClr val="bg2"/>
                  </a:solidFill>
                </a:endParaRPr>
              </a:p>
            </p:txBody>
          </p:sp>
        </p:grpSp>
        <p:cxnSp>
          <p:nvCxnSpPr>
            <p:cNvPr id="117" name="Straight Arrow Connector 39">
              <a:extLst>
                <a:ext uri="{FF2B5EF4-FFF2-40B4-BE49-F238E27FC236}">
                  <a16:creationId xmlns:a16="http://schemas.microsoft.com/office/drawing/2014/main" id="{6C9CCCEC-E8FE-BB13-E607-B531EBEA9F52}"/>
                </a:ext>
              </a:extLst>
            </p:cNvPr>
            <p:cNvCxnSpPr>
              <a:cxnSpLocks/>
              <a:stCxn id="39" idx="3"/>
              <a:endCxn id="110" idx="1"/>
            </p:cNvCxnSpPr>
            <p:nvPr/>
          </p:nvCxnSpPr>
          <p:spPr>
            <a:xfrm>
              <a:off x="7284649" y="5164465"/>
              <a:ext cx="1803727" cy="2813"/>
            </a:xfrm>
            <a:prstGeom prst="straightConnector1">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39">
              <a:extLst>
                <a:ext uri="{FF2B5EF4-FFF2-40B4-BE49-F238E27FC236}">
                  <a16:creationId xmlns:a16="http://schemas.microsoft.com/office/drawing/2014/main" id="{C292D255-CB33-15A4-FA5F-51107CC628F7}"/>
                </a:ext>
              </a:extLst>
            </p:cNvPr>
            <p:cNvCxnSpPr>
              <a:cxnSpLocks/>
              <a:stCxn id="37" idx="3"/>
              <a:endCxn id="113" idx="1"/>
            </p:cNvCxnSpPr>
            <p:nvPr/>
          </p:nvCxnSpPr>
          <p:spPr>
            <a:xfrm>
              <a:off x="7272185" y="2842139"/>
              <a:ext cx="1807028" cy="4252"/>
            </a:xfrm>
            <a:prstGeom prst="straightConnector1">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CE5253E0-5DE3-E4A0-CDA7-570D5867A73D}"/>
                </a:ext>
              </a:extLst>
            </p:cNvPr>
            <p:cNvGrpSpPr/>
            <p:nvPr/>
          </p:nvGrpSpPr>
          <p:grpSpPr>
            <a:xfrm>
              <a:off x="760414" y="3660571"/>
              <a:ext cx="10671171" cy="1041311"/>
              <a:chOff x="760413" y="5202549"/>
              <a:chExt cx="10671171" cy="1041311"/>
            </a:xfrm>
          </p:grpSpPr>
          <p:sp>
            <p:nvSpPr>
              <p:cNvPr id="6" name="Rectangle: Rounded Corners 5">
                <a:extLst>
                  <a:ext uri="{FF2B5EF4-FFF2-40B4-BE49-F238E27FC236}">
                    <a16:creationId xmlns:a16="http://schemas.microsoft.com/office/drawing/2014/main" id="{A72AE74A-57C5-38BD-ECAB-88C5D89B0E51}"/>
                  </a:ext>
                </a:extLst>
              </p:cNvPr>
              <p:cNvSpPr/>
              <p:nvPr/>
            </p:nvSpPr>
            <p:spPr>
              <a:xfrm>
                <a:off x="760413" y="5496609"/>
                <a:ext cx="2352371" cy="747251"/>
              </a:xfrm>
              <a:prstGeom prst="roundRect">
                <a:avLst/>
              </a:prstGeom>
              <a:solidFill>
                <a:schemeClr val="tx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rPr>
                  <a:t>TABK</a:t>
                </a:r>
              </a:p>
            </p:txBody>
          </p:sp>
          <p:sp>
            <p:nvSpPr>
              <p:cNvPr id="36" name="Rectangle: Rounded Corners 35">
                <a:extLst>
                  <a:ext uri="{FF2B5EF4-FFF2-40B4-BE49-F238E27FC236}">
                    <a16:creationId xmlns:a16="http://schemas.microsoft.com/office/drawing/2014/main" id="{FF2DF93B-30F5-5AF6-5B17-60463A1E4626}"/>
                  </a:ext>
                </a:extLst>
              </p:cNvPr>
              <p:cNvSpPr/>
              <p:nvPr/>
            </p:nvSpPr>
            <p:spPr>
              <a:xfrm>
                <a:off x="4919814" y="5496609"/>
                <a:ext cx="2352371" cy="74725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err="1">
                    <a:solidFill>
                      <a:schemeClr val="bg2"/>
                    </a:solidFill>
                  </a:rPr>
                  <a:t>Dokumentasi</a:t>
                </a:r>
                <a:r>
                  <a:rPr lang="en-US" sz="2400" b="1" dirty="0">
                    <a:solidFill>
                      <a:schemeClr val="bg2"/>
                    </a:solidFill>
                  </a:rPr>
                  <a:t> </a:t>
                </a:r>
                <a:r>
                  <a:rPr lang="en-US" sz="2400" b="1" dirty="0" err="1">
                    <a:solidFill>
                      <a:schemeClr val="bg2"/>
                    </a:solidFill>
                  </a:rPr>
                  <a:t>Penugasan</a:t>
                </a:r>
                <a:endParaRPr lang="en-US" sz="2400" b="1" dirty="0">
                  <a:solidFill>
                    <a:schemeClr val="bg2"/>
                  </a:solidFill>
                </a:endParaRPr>
              </a:p>
            </p:txBody>
          </p:sp>
          <p:sp>
            <p:nvSpPr>
              <p:cNvPr id="115" name="Rectangle: Rounded Corners 114">
                <a:extLst>
                  <a:ext uri="{FF2B5EF4-FFF2-40B4-BE49-F238E27FC236}">
                    <a16:creationId xmlns:a16="http://schemas.microsoft.com/office/drawing/2014/main" id="{A192913A-893B-0402-8900-D873DE915D05}"/>
                  </a:ext>
                </a:extLst>
              </p:cNvPr>
              <p:cNvSpPr/>
              <p:nvPr/>
            </p:nvSpPr>
            <p:spPr>
              <a:xfrm>
                <a:off x="9079213" y="5521686"/>
                <a:ext cx="2352371" cy="702078"/>
              </a:xfrm>
              <a:prstGeom prst="roundRect">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US" sz="2200" kern="1200" dirty="0" err="1">
                    <a:solidFill>
                      <a:schemeClr val="bg2"/>
                    </a:solidFill>
                  </a:rPr>
                  <a:t>Pelaporan</a:t>
                </a:r>
                <a:r>
                  <a:rPr lang="en-US" sz="2200" kern="1200" dirty="0">
                    <a:solidFill>
                      <a:schemeClr val="bg2"/>
                    </a:solidFill>
                  </a:rPr>
                  <a:t> </a:t>
                </a:r>
                <a:r>
                  <a:rPr lang="en-US" sz="2200" kern="1200" dirty="0" err="1">
                    <a:solidFill>
                      <a:schemeClr val="bg2"/>
                    </a:solidFill>
                  </a:rPr>
                  <a:t>Pengawasan</a:t>
                </a:r>
                <a:endParaRPr lang="en-US" sz="2200" kern="1200" dirty="0">
                  <a:solidFill>
                    <a:schemeClr val="bg2"/>
                  </a:solidFill>
                </a:endParaRPr>
              </a:p>
            </p:txBody>
          </p:sp>
          <p:sp>
            <p:nvSpPr>
              <p:cNvPr id="185" name="TextBox 184">
                <a:extLst>
                  <a:ext uri="{FF2B5EF4-FFF2-40B4-BE49-F238E27FC236}">
                    <a16:creationId xmlns:a16="http://schemas.microsoft.com/office/drawing/2014/main" id="{0B411612-1AF4-C265-F8CC-8DD64B1F0FE2}"/>
                  </a:ext>
                </a:extLst>
              </p:cNvPr>
              <p:cNvSpPr txBox="1"/>
              <p:nvPr/>
            </p:nvSpPr>
            <p:spPr>
              <a:xfrm>
                <a:off x="4839430" y="5202549"/>
                <a:ext cx="2531462" cy="307777"/>
              </a:xfrm>
              <a:prstGeom prst="rect">
                <a:avLst/>
              </a:prstGeom>
              <a:noFill/>
            </p:spPr>
            <p:txBody>
              <a:bodyPr wrap="none" rtlCol="0">
                <a:spAutoFit/>
              </a:bodyPr>
              <a:lstStyle/>
              <a:p>
                <a:pPr algn="ctr"/>
                <a:r>
                  <a:rPr lang="en-US" b="1" dirty="0" err="1"/>
                  <a:t>Laporan</a:t>
                </a:r>
                <a:r>
                  <a:rPr lang="en-US" b="1" dirty="0"/>
                  <a:t> &amp; Script </a:t>
                </a:r>
                <a:r>
                  <a:rPr lang="en-US" b="1" dirty="0" err="1"/>
                  <a:t>Pengujian</a:t>
                </a:r>
                <a:endParaRPr lang="en-US" b="1" dirty="0"/>
              </a:p>
            </p:txBody>
          </p:sp>
        </p:grpSp>
        <p:cxnSp>
          <p:nvCxnSpPr>
            <p:cNvPr id="8" name="Straight Arrow Connector 39">
              <a:extLst>
                <a:ext uri="{FF2B5EF4-FFF2-40B4-BE49-F238E27FC236}">
                  <a16:creationId xmlns:a16="http://schemas.microsoft.com/office/drawing/2014/main" id="{8802A76D-0A2B-8047-A879-24458017DC8A}"/>
                </a:ext>
              </a:extLst>
            </p:cNvPr>
            <p:cNvCxnSpPr>
              <a:cxnSpLocks/>
              <a:stCxn id="37" idx="3"/>
              <a:endCxn id="114" idx="1"/>
            </p:cNvCxnSpPr>
            <p:nvPr/>
          </p:nvCxnSpPr>
          <p:spPr>
            <a:xfrm>
              <a:off x="7272185" y="2842139"/>
              <a:ext cx="1807028" cy="741435"/>
            </a:xfrm>
            <a:prstGeom prst="bentConnector3">
              <a:avLst>
                <a:gd name="adj1" fmla="val 32256"/>
              </a:avLst>
            </a:prstGeom>
            <a:ln w="76200">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3DE5547-383A-C907-B12B-D173AE269A27}"/>
                </a:ext>
              </a:extLst>
            </p:cNvPr>
            <p:cNvGrpSpPr/>
            <p:nvPr/>
          </p:nvGrpSpPr>
          <p:grpSpPr>
            <a:xfrm>
              <a:off x="760414" y="1612514"/>
              <a:ext cx="10671170" cy="2322099"/>
              <a:chOff x="760414" y="3164483"/>
              <a:chExt cx="10671170" cy="2322099"/>
            </a:xfrm>
          </p:grpSpPr>
          <p:sp>
            <p:nvSpPr>
              <p:cNvPr id="7" name="Rectangle: Rounded Corners 6">
                <a:extLst>
                  <a:ext uri="{FF2B5EF4-FFF2-40B4-BE49-F238E27FC236}">
                    <a16:creationId xmlns:a16="http://schemas.microsoft.com/office/drawing/2014/main" id="{DB6DCAB0-C757-E390-5B1A-B39EF3694902}"/>
                  </a:ext>
                </a:extLst>
              </p:cNvPr>
              <p:cNvSpPr/>
              <p:nvPr/>
            </p:nvSpPr>
            <p:spPr>
              <a:xfrm>
                <a:off x="760416" y="4505477"/>
                <a:ext cx="2352368" cy="74725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rPr>
                  <a:t>CM</a:t>
                </a:r>
              </a:p>
            </p:txBody>
          </p:sp>
          <p:sp>
            <p:nvSpPr>
              <p:cNvPr id="5" name="Rectangle: Rounded Corners 4">
                <a:extLst>
                  <a:ext uri="{FF2B5EF4-FFF2-40B4-BE49-F238E27FC236}">
                    <a16:creationId xmlns:a16="http://schemas.microsoft.com/office/drawing/2014/main" id="{7830B4D4-5895-DEAD-828A-1632070EF627}"/>
                  </a:ext>
                </a:extLst>
              </p:cNvPr>
              <p:cNvSpPr/>
              <p:nvPr/>
            </p:nvSpPr>
            <p:spPr>
              <a:xfrm>
                <a:off x="760414" y="3503585"/>
                <a:ext cx="2352370" cy="747251"/>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rPr>
                  <a:t>CA</a:t>
                </a:r>
              </a:p>
            </p:txBody>
          </p:sp>
          <p:grpSp>
            <p:nvGrpSpPr>
              <p:cNvPr id="52" name="Group 51">
                <a:extLst>
                  <a:ext uri="{FF2B5EF4-FFF2-40B4-BE49-F238E27FC236}">
                    <a16:creationId xmlns:a16="http://schemas.microsoft.com/office/drawing/2014/main" id="{0D9E68A5-57D3-8F50-8CA4-0CC5E129DDA5}"/>
                  </a:ext>
                </a:extLst>
              </p:cNvPr>
              <p:cNvGrpSpPr/>
              <p:nvPr/>
            </p:nvGrpSpPr>
            <p:grpSpPr>
              <a:xfrm>
                <a:off x="4919814" y="3755223"/>
                <a:ext cx="2352371" cy="1012510"/>
                <a:chOff x="5005460" y="4395889"/>
                <a:chExt cx="2352371" cy="1012510"/>
              </a:xfrm>
              <a:solidFill>
                <a:schemeClr val="bg1"/>
              </a:solidFill>
            </p:grpSpPr>
            <p:sp>
              <p:nvSpPr>
                <p:cNvPr id="37" name="Rectangle: Rounded Corners 36">
                  <a:extLst>
                    <a:ext uri="{FF2B5EF4-FFF2-40B4-BE49-F238E27FC236}">
                      <a16:creationId xmlns:a16="http://schemas.microsoft.com/office/drawing/2014/main" id="{E38D8F39-ED32-5739-5CC5-81E22B1009C4}"/>
                    </a:ext>
                  </a:extLst>
                </p:cNvPr>
                <p:cNvSpPr/>
                <p:nvPr/>
              </p:nvSpPr>
              <p:spPr>
                <a:xfrm>
                  <a:off x="5005460" y="4661148"/>
                  <a:ext cx="2352371" cy="747251"/>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rPr>
                    <a:t>Data Anomaly (Dashboard)</a:t>
                  </a:r>
                </a:p>
              </p:txBody>
            </p:sp>
            <p:sp>
              <p:nvSpPr>
                <p:cNvPr id="51" name="TextBox 50">
                  <a:extLst>
                    <a:ext uri="{FF2B5EF4-FFF2-40B4-BE49-F238E27FC236}">
                      <a16:creationId xmlns:a16="http://schemas.microsoft.com/office/drawing/2014/main" id="{0366D879-D4CA-E8B7-9675-BEE61D6E3663}"/>
                    </a:ext>
                  </a:extLst>
                </p:cNvPr>
                <p:cNvSpPr txBox="1"/>
                <p:nvPr/>
              </p:nvSpPr>
              <p:spPr>
                <a:xfrm>
                  <a:off x="5416688" y="4395889"/>
                  <a:ext cx="1499128" cy="307777"/>
                </a:xfrm>
                <a:prstGeom prst="rect">
                  <a:avLst/>
                </a:prstGeom>
                <a:noFill/>
              </p:spPr>
              <p:txBody>
                <a:bodyPr wrap="none" rtlCol="0">
                  <a:spAutoFit/>
                </a:bodyPr>
                <a:lstStyle/>
                <a:p>
                  <a:r>
                    <a:rPr lang="en-US" b="1" dirty="0"/>
                    <a:t>War Room </a:t>
                  </a:r>
                  <a:r>
                    <a:rPr lang="en-US" b="1" dirty="0" err="1"/>
                    <a:t>Itjen</a:t>
                  </a:r>
                  <a:endParaRPr lang="en-US" b="1" dirty="0"/>
                </a:p>
              </p:txBody>
            </p:sp>
          </p:grpSp>
          <p:sp>
            <p:nvSpPr>
              <p:cNvPr id="112" name="Rectangle: Rounded Corners 111">
                <a:extLst>
                  <a:ext uri="{FF2B5EF4-FFF2-40B4-BE49-F238E27FC236}">
                    <a16:creationId xmlns:a16="http://schemas.microsoft.com/office/drawing/2014/main" id="{E65F136B-904E-7941-8BD5-C6B1B8B42B52}"/>
                  </a:ext>
                </a:extLst>
              </p:cNvPr>
              <p:cNvSpPr/>
              <p:nvPr/>
            </p:nvSpPr>
            <p:spPr>
              <a:xfrm>
                <a:off x="9079213" y="3310139"/>
                <a:ext cx="2352371" cy="702078"/>
              </a:xfrm>
              <a:prstGeom prst="roundRect">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US" sz="2200" kern="1200" dirty="0" err="1">
                    <a:solidFill>
                      <a:schemeClr val="bg2"/>
                    </a:solidFill>
                  </a:rPr>
                  <a:t>Perencanaan</a:t>
                </a:r>
                <a:r>
                  <a:rPr lang="en-US" sz="2200" kern="1200" dirty="0">
                    <a:solidFill>
                      <a:schemeClr val="bg2"/>
                    </a:solidFill>
                  </a:rPr>
                  <a:t> </a:t>
                </a:r>
                <a:r>
                  <a:rPr lang="en-US" sz="2200" kern="1200" dirty="0" err="1">
                    <a:solidFill>
                      <a:schemeClr val="bg2"/>
                    </a:solidFill>
                  </a:rPr>
                  <a:t>Tahunan</a:t>
                </a:r>
                <a:endParaRPr lang="en-US" sz="2200" kern="1200" dirty="0">
                  <a:solidFill>
                    <a:schemeClr val="bg2"/>
                  </a:solidFill>
                </a:endParaRPr>
              </a:p>
            </p:txBody>
          </p:sp>
          <p:sp>
            <p:nvSpPr>
              <p:cNvPr id="113" name="Rectangle: Rounded Corners 112">
                <a:extLst>
                  <a:ext uri="{FF2B5EF4-FFF2-40B4-BE49-F238E27FC236}">
                    <a16:creationId xmlns:a16="http://schemas.microsoft.com/office/drawing/2014/main" id="{C2C9238D-4D51-914F-72C2-35D8D9F72208}"/>
                  </a:ext>
                </a:extLst>
              </p:cNvPr>
              <p:cNvSpPr/>
              <p:nvPr/>
            </p:nvSpPr>
            <p:spPr>
              <a:xfrm>
                <a:off x="9079213" y="4047321"/>
                <a:ext cx="2352371" cy="702078"/>
              </a:xfrm>
              <a:prstGeom prst="roundRect">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US" sz="2200" kern="1200" dirty="0" err="1">
                    <a:solidFill>
                      <a:schemeClr val="bg2"/>
                    </a:solidFill>
                  </a:rPr>
                  <a:t>Perencanaan</a:t>
                </a:r>
                <a:r>
                  <a:rPr lang="en-US" sz="2200" kern="1200" dirty="0">
                    <a:solidFill>
                      <a:schemeClr val="bg2"/>
                    </a:solidFill>
                  </a:rPr>
                  <a:t> </a:t>
                </a:r>
                <a:r>
                  <a:rPr lang="en-US" sz="2200" kern="1200" dirty="0" err="1">
                    <a:solidFill>
                      <a:schemeClr val="bg2"/>
                    </a:solidFill>
                  </a:rPr>
                  <a:t>Penugasan</a:t>
                </a:r>
                <a:endParaRPr lang="en-US" sz="2200" kern="1200" dirty="0">
                  <a:solidFill>
                    <a:schemeClr val="bg2"/>
                  </a:solidFill>
                </a:endParaRPr>
              </a:p>
            </p:txBody>
          </p:sp>
          <p:sp>
            <p:nvSpPr>
              <p:cNvPr id="114" name="Rectangle: Rounded Corners 113">
                <a:extLst>
                  <a:ext uri="{FF2B5EF4-FFF2-40B4-BE49-F238E27FC236}">
                    <a16:creationId xmlns:a16="http://schemas.microsoft.com/office/drawing/2014/main" id="{ABB8DC9E-3F28-0E11-05BC-EEB8903C7D65}"/>
                  </a:ext>
                </a:extLst>
              </p:cNvPr>
              <p:cNvSpPr/>
              <p:nvPr/>
            </p:nvSpPr>
            <p:spPr>
              <a:xfrm>
                <a:off x="9079213" y="4784504"/>
                <a:ext cx="2352371" cy="702078"/>
              </a:xfrm>
              <a:prstGeom prst="roundRect">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US" sz="2200" kern="1200" dirty="0" err="1">
                    <a:solidFill>
                      <a:schemeClr val="bg2"/>
                    </a:solidFill>
                  </a:rPr>
                  <a:t>Pelaksanaan</a:t>
                </a:r>
                <a:r>
                  <a:rPr lang="en-US" sz="2200" kern="1200" dirty="0">
                    <a:solidFill>
                      <a:schemeClr val="bg2"/>
                    </a:solidFill>
                  </a:rPr>
                  <a:t> </a:t>
                </a:r>
                <a:r>
                  <a:rPr lang="en-US" sz="2200" kern="1200" dirty="0" err="1">
                    <a:solidFill>
                      <a:schemeClr val="bg2"/>
                    </a:solidFill>
                  </a:rPr>
                  <a:t>Penugasan</a:t>
                </a:r>
                <a:endParaRPr lang="en-US" sz="2200" kern="1200" dirty="0">
                  <a:solidFill>
                    <a:schemeClr val="bg2"/>
                  </a:solidFill>
                </a:endParaRPr>
              </a:p>
            </p:txBody>
          </p:sp>
          <p:sp>
            <p:nvSpPr>
              <p:cNvPr id="182" name="TextBox 181">
                <a:extLst>
                  <a:ext uri="{FF2B5EF4-FFF2-40B4-BE49-F238E27FC236}">
                    <a16:creationId xmlns:a16="http://schemas.microsoft.com/office/drawing/2014/main" id="{D1E1DE82-2FE2-536E-9833-70300D367D92}"/>
                  </a:ext>
                </a:extLst>
              </p:cNvPr>
              <p:cNvSpPr txBox="1"/>
              <p:nvPr/>
            </p:nvSpPr>
            <p:spPr>
              <a:xfrm>
                <a:off x="7863794" y="4087420"/>
                <a:ext cx="825867" cy="292388"/>
              </a:xfrm>
              <a:prstGeom prst="rect">
                <a:avLst/>
              </a:prstGeom>
              <a:noFill/>
            </p:spPr>
            <p:txBody>
              <a:bodyPr wrap="none" rtlCol="0">
                <a:spAutoFit/>
              </a:bodyPr>
              <a:lstStyle/>
              <a:p>
                <a:r>
                  <a:rPr lang="en-US" sz="1300" b="1" dirty="0" err="1"/>
                  <a:t>otomasi</a:t>
                </a:r>
                <a:endParaRPr lang="en-US" sz="1300" b="1" dirty="0"/>
              </a:p>
            </p:txBody>
          </p:sp>
          <p:sp>
            <p:nvSpPr>
              <p:cNvPr id="183" name="TextBox 182">
                <a:extLst>
                  <a:ext uri="{FF2B5EF4-FFF2-40B4-BE49-F238E27FC236}">
                    <a16:creationId xmlns:a16="http://schemas.microsoft.com/office/drawing/2014/main" id="{9AB393A3-0468-DD2E-1794-A206E007D77B}"/>
                  </a:ext>
                </a:extLst>
              </p:cNvPr>
              <p:cNvSpPr txBox="1"/>
              <p:nvPr/>
            </p:nvSpPr>
            <p:spPr>
              <a:xfrm>
                <a:off x="7817104" y="3164483"/>
                <a:ext cx="870751" cy="492443"/>
              </a:xfrm>
              <a:prstGeom prst="rect">
                <a:avLst/>
              </a:prstGeom>
              <a:noFill/>
            </p:spPr>
            <p:txBody>
              <a:bodyPr wrap="none" rtlCol="0">
                <a:spAutoFit/>
              </a:bodyPr>
              <a:lstStyle/>
              <a:p>
                <a:pPr algn="ctr"/>
                <a:r>
                  <a:rPr lang="en-US" sz="1300" b="1" dirty="0"/>
                  <a:t>custom</a:t>
                </a:r>
              </a:p>
              <a:p>
                <a:pPr algn="ctr"/>
                <a:r>
                  <a:rPr lang="en-US" sz="1300" b="1" dirty="0"/>
                  <a:t>measure</a:t>
                </a:r>
              </a:p>
            </p:txBody>
          </p:sp>
          <p:sp>
            <p:nvSpPr>
              <p:cNvPr id="12" name="TextBox 11">
                <a:extLst>
                  <a:ext uri="{FF2B5EF4-FFF2-40B4-BE49-F238E27FC236}">
                    <a16:creationId xmlns:a16="http://schemas.microsoft.com/office/drawing/2014/main" id="{52336E92-7545-91EE-5601-6583A99BE378}"/>
                  </a:ext>
                </a:extLst>
              </p:cNvPr>
              <p:cNvSpPr txBox="1"/>
              <p:nvPr/>
            </p:nvSpPr>
            <p:spPr>
              <a:xfrm>
                <a:off x="7652958" y="5146770"/>
                <a:ext cx="1029449" cy="292388"/>
              </a:xfrm>
              <a:prstGeom prst="rect">
                <a:avLst/>
              </a:prstGeom>
              <a:noFill/>
            </p:spPr>
            <p:txBody>
              <a:bodyPr wrap="none" rtlCol="0">
                <a:spAutoFit/>
              </a:bodyPr>
              <a:lstStyle/>
              <a:p>
                <a:r>
                  <a:rPr lang="en-US" sz="1300" b="1" dirty="0" err="1"/>
                  <a:t>konfirmasi</a:t>
                </a:r>
                <a:endParaRPr lang="en-US" sz="1300" b="1" dirty="0"/>
              </a:p>
            </p:txBody>
          </p:sp>
        </p:grpSp>
      </p:grpSp>
    </p:spTree>
    <p:extLst>
      <p:ext uri="{BB962C8B-B14F-4D97-AF65-F5344CB8AC3E}">
        <p14:creationId xmlns:p14="http://schemas.microsoft.com/office/powerpoint/2010/main" val="2866582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pt-BR" dirty="0"/>
              <a:t>Roles dalam Penerapan DA Itjen</a:t>
            </a:r>
          </a:p>
        </p:txBody>
      </p:sp>
      <p:graphicFrame>
        <p:nvGraphicFramePr>
          <p:cNvPr id="4" name="Table 8">
            <a:extLst>
              <a:ext uri="{FF2B5EF4-FFF2-40B4-BE49-F238E27FC236}">
                <a16:creationId xmlns:a16="http://schemas.microsoft.com/office/drawing/2014/main" id="{8B6A785F-0AA9-4F12-9CF7-BDC41E2B06DF}"/>
              </a:ext>
            </a:extLst>
          </p:cNvPr>
          <p:cNvGraphicFramePr>
            <a:graphicFrameLocks noGrp="1"/>
          </p:cNvGraphicFramePr>
          <p:nvPr/>
        </p:nvGraphicFramePr>
        <p:xfrm>
          <a:off x="570909" y="891060"/>
          <a:ext cx="11001784" cy="5520944"/>
        </p:xfrm>
        <a:graphic>
          <a:graphicData uri="http://schemas.openxmlformats.org/drawingml/2006/table">
            <a:tbl>
              <a:tblPr firstRow="1" bandRow="1">
                <a:tableStyleId>{3B4B98B0-60AC-42C2-AFA5-B58CD77FA1E5}</a:tableStyleId>
              </a:tblPr>
              <a:tblGrid>
                <a:gridCol w="2554472">
                  <a:extLst>
                    <a:ext uri="{9D8B030D-6E8A-4147-A177-3AD203B41FA5}">
                      <a16:colId xmlns:a16="http://schemas.microsoft.com/office/drawing/2014/main" val="4026118294"/>
                    </a:ext>
                  </a:extLst>
                </a:gridCol>
                <a:gridCol w="2946420">
                  <a:extLst>
                    <a:ext uri="{9D8B030D-6E8A-4147-A177-3AD203B41FA5}">
                      <a16:colId xmlns:a16="http://schemas.microsoft.com/office/drawing/2014/main" val="225174227"/>
                    </a:ext>
                  </a:extLst>
                </a:gridCol>
                <a:gridCol w="2750446">
                  <a:extLst>
                    <a:ext uri="{9D8B030D-6E8A-4147-A177-3AD203B41FA5}">
                      <a16:colId xmlns:a16="http://schemas.microsoft.com/office/drawing/2014/main" val="2349340261"/>
                    </a:ext>
                  </a:extLst>
                </a:gridCol>
                <a:gridCol w="2750446">
                  <a:extLst>
                    <a:ext uri="{9D8B030D-6E8A-4147-A177-3AD203B41FA5}">
                      <a16:colId xmlns:a16="http://schemas.microsoft.com/office/drawing/2014/main" val="120654615"/>
                    </a:ext>
                  </a:extLst>
                </a:gridCol>
              </a:tblGrid>
              <a:tr h="4167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Business Executive</a:t>
                      </a:r>
                      <a:endParaRPr lang="en-AU" sz="18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Business Leader</a:t>
                      </a:r>
                      <a:endParaRPr lang="en-AU" sz="18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Data Scientist</a:t>
                      </a:r>
                      <a:endParaRPr lang="en-AU" sz="18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Data Engineer</a:t>
                      </a:r>
                      <a:endParaRPr lang="en-AU" sz="1800" dirty="0"/>
                    </a:p>
                  </a:txBody>
                  <a:tcPr/>
                </a:tc>
                <a:extLst>
                  <a:ext uri="{0D108BD9-81ED-4DB2-BD59-A6C34878D82A}">
                    <a16:rowId xmlns:a16="http://schemas.microsoft.com/office/drawing/2014/main" val="2002021398"/>
                  </a:ext>
                </a:extLst>
              </a:tr>
              <a:tr h="2546049">
                <a:tc>
                  <a:txBody>
                    <a:bodyPr/>
                    <a:lstStyle/>
                    <a:p>
                      <a:endParaRPr lang="en-AU" dirty="0"/>
                    </a:p>
                  </a:txBody>
                  <a:tcPr/>
                </a:tc>
                <a:tc>
                  <a:txBody>
                    <a:bodyPr/>
                    <a:lstStyle/>
                    <a:p>
                      <a:endParaRPr lang="en-AU" dirty="0"/>
                    </a:p>
                  </a:txBody>
                  <a:tcPr/>
                </a:tc>
                <a:tc>
                  <a:txBody>
                    <a:bodyPr/>
                    <a:lstStyle/>
                    <a:p>
                      <a:endParaRPr lang="en-AU" dirty="0"/>
                    </a:p>
                  </a:txBody>
                  <a:tcPr/>
                </a:tc>
                <a:tc>
                  <a:txBody>
                    <a:bodyPr/>
                    <a:lstStyle/>
                    <a:p>
                      <a:endParaRPr lang="en-AU" dirty="0"/>
                    </a:p>
                  </a:txBody>
                  <a:tcPr/>
                </a:tc>
                <a:extLst>
                  <a:ext uri="{0D108BD9-81ED-4DB2-BD59-A6C34878D82A}">
                    <a16:rowId xmlns:a16="http://schemas.microsoft.com/office/drawing/2014/main" val="2890548285"/>
                  </a:ext>
                </a:extLst>
              </a:tr>
              <a:tr h="1583657">
                <a:tc>
                  <a:txBody>
                    <a:bodyPr/>
                    <a:lstStyle/>
                    <a:p>
                      <a:pPr marL="285750" indent="-285750">
                        <a:buFont typeface="Arial" panose="020B0604020202020204" pitchFamily="34" charset="0"/>
                        <a:buChar char="•"/>
                      </a:pPr>
                      <a:r>
                        <a:rPr lang="en-ID" sz="1600" b="0" kern="1200" dirty="0" err="1">
                          <a:solidFill>
                            <a:schemeClr val="dk1"/>
                          </a:solidFill>
                          <a:effectLst/>
                        </a:rPr>
                        <a:t>tanggung</a:t>
                      </a:r>
                      <a:r>
                        <a:rPr lang="en-ID" sz="1600" b="0" kern="1200" dirty="0">
                          <a:solidFill>
                            <a:schemeClr val="dk1"/>
                          </a:solidFill>
                          <a:effectLst/>
                        </a:rPr>
                        <a:t> </a:t>
                      </a:r>
                      <a:r>
                        <a:rPr lang="en-ID" sz="1600" b="0" kern="1200" dirty="0" err="1">
                          <a:solidFill>
                            <a:schemeClr val="dk1"/>
                          </a:solidFill>
                          <a:effectLst/>
                        </a:rPr>
                        <a:t>jawab</a:t>
                      </a:r>
                      <a:r>
                        <a:rPr lang="en-ID" sz="1600" b="0" kern="1200" dirty="0">
                          <a:solidFill>
                            <a:schemeClr val="dk1"/>
                          </a:solidFill>
                          <a:effectLst/>
                        </a:rPr>
                        <a:t> </a:t>
                      </a:r>
                      <a:r>
                        <a:rPr lang="en-ID" sz="1600" b="0" kern="1200" dirty="0" err="1">
                          <a:solidFill>
                            <a:schemeClr val="dk1"/>
                          </a:solidFill>
                          <a:effectLst/>
                        </a:rPr>
                        <a:t>atas</a:t>
                      </a:r>
                      <a:r>
                        <a:rPr lang="en-ID" sz="1600" b="0" kern="1200" dirty="0">
                          <a:solidFill>
                            <a:schemeClr val="dk1"/>
                          </a:solidFill>
                          <a:effectLst/>
                        </a:rPr>
                        <a:t> </a:t>
                      </a:r>
                      <a:r>
                        <a:rPr lang="en-ID" sz="1600" b="0" kern="1200" dirty="0" err="1">
                          <a:solidFill>
                            <a:schemeClr val="dk1"/>
                          </a:solidFill>
                          <a:effectLst/>
                        </a:rPr>
                        <a:t>berjalannya</a:t>
                      </a:r>
                      <a:r>
                        <a:rPr lang="en-ID" sz="1600" b="0" kern="1200" dirty="0">
                          <a:solidFill>
                            <a:schemeClr val="dk1"/>
                          </a:solidFill>
                          <a:effectLst/>
                        </a:rPr>
                        <a:t> </a:t>
                      </a:r>
                      <a:r>
                        <a:rPr lang="en-ID" sz="1600" b="0" kern="1200" dirty="0" err="1">
                          <a:solidFill>
                            <a:schemeClr val="dk1"/>
                          </a:solidFill>
                          <a:effectLst/>
                        </a:rPr>
                        <a:t>penerapan</a:t>
                      </a:r>
                      <a:r>
                        <a:rPr lang="en-ID" sz="1600" b="0" kern="1200" dirty="0">
                          <a:solidFill>
                            <a:schemeClr val="dk1"/>
                          </a:solidFill>
                          <a:effectLst/>
                        </a:rPr>
                        <a:t> DA</a:t>
                      </a:r>
                    </a:p>
                    <a:p>
                      <a:pPr marL="285750" indent="-285750">
                        <a:buFont typeface="Arial" panose="020B0604020202020204" pitchFamily="34" charset="0"/>
                        <a:buChar char="•"/>
                      </a:pPr>
                      <a:r>
                        <a:rPr lang="en-ID" sz="1600" i="0" baseline="0" dirty="0" err="1"/>
                        <a:t>arahan</a:t>
                      </a:r>
                      <a:r>
                        <a:rPr lang="en-ID" sz="1600" i="0" baseline="0" dirty="0"/>
                        <a:t> </a:t>
                      </a:r>
                      <a:r>
                        <a:rPr lang="en-ID" sz="1600" i="0" baseline="0" dirty="0" err="1"/>
                        <a:t>umum</a:t>
                      </a:r>
                      <a:r>
                        <a:rPr lang="en-ID" sz="1600" i="0" baseline="0" dirty="0"/>
                        <a:t> </a:t>
                      </a:r>
                      <a:r>
                        <a:rPr lang="en-ID" sz="1600" i="0" baseline="0" dirty="0" err="1"/>
                        <a:t>mengenai</a:t>
                      </a:r>
                      <a:r>
                        <a:rPr lang="en-ID" sz="1600" i="0" baseline="0" dirty="0"/>
                        <a:t> </a:t>
                      </a:r>
                      <a:r>
                        <a:rPr lang="en-ID" sz="1600" i="0" baseline="0" dirty="0" err="1"/>
                        <a:t>tujuan</a:t>
                      </a:r>
                      <a:r>
                        <a:rPr lang="en-ID" sz="1600" i="0" baseline="0" dirty="0"/>
                        <a:t> </a:t>
                      </a:r>
                      <a:r>
                        <a:rPr lang="en-ID" sz="1600" i="0" baseline="0" dirty="0" err="1"/>
                        <a:t>organisasi</a:t>
                      </a:r>
                      <a:r>
                        <a:rPr lang="en-ID" sz="1600" i="0" baseline="0" dirty="0"/>
                        <a:t> </a:t>
                      </a:r>
                      <a:endParaRPr lang="en-AU" sz="1600" b="0" dirty="0"/>
                    </a:p>
                  </a:txBody>
                  <a:tcPr/>
                </a:tc>
                <a:tc>
                  <a:txBody>
                    <a:bodyPr/>
                    <a:lstStyle/>
                    <a:p>
                      <a:pPr marL="285750" indent="-285750">
                        <a:buFont typeface="Arial" panose="020B0604020202020204" pitchFamily="34" charset="0"/>
                        <a:buChar char="•"/>
                      </a:pPr>
                      <a:r>
                        <a:rPr lang="en-ID" sz="1600" kern="1200" dirty="0" err="1">
                          <a:solidFill>
                            <a:schemeClr val="dk1"/>
                          </a:solidFill>
                          <a:effectLst/>
                        </a:rPr>
                        <a:t>memiliki</a:t>
                      </a:r>
                      <a:r>
                        <a:rPr lang="en-ID" sz="1600" kern="1200" dirty="0">
                          <a:solidFill>
                            <a:schemeClr val="dk1"/>
                          </a:solidFill>
                          <a:effectLst/>
                        </a:rPr>
                        <a:t> </a:t>
                      </a:r>
                      <a:r>
                        <a:rPr lang="en-ID" sz="1600" kern="1200" dirty="0" err="1">
                          <a:solidFill>
                            <a:schemeClr val="dk1"/>
                          </a:solidFill>
                          <a:effectLst/>
                        </a:rPr>
                        <a:t>pemahaman</a:t>
                      </a:r>
                      <a:r>
                        <a:rPr lang="en-ID" sz="1600" kern="1200" dirty="0">
                          <a:solidFill>
                            <a:schemeClr val="dk1"/>
                          </a:solidFill>
                          <a:effectLst/>
                        </a:rPr>
                        <a:t> proses </a:t>
                      </a:r>
                      <a:r>
                        <a:rPr lang="en-ID" sz="1600" kern="1200" dirty="0" err="1">
                          <a:solidFill>
                            <a:schemeClr val="dk1"/>
                          </a:solidFill>
                          <a:effectLst/>
                        </a:rPr>
                        <a:t>bisnis</a:t>
                      </a:r>
                      <a:endParaRPr lang="en-ID" sz="1600" kern="1200" dirty="0">
                        <a:solidFill>
                          <a:schemeClr val="dk1"/>
                        </a:solidFill>
                        <a:effectLst/>
                      </a:endParaRPr>
                    </a:p>
                    <a:p>
                      <a:pPr marL="285750" indent="-285750">
                        <a:buFont typeface="Arial" panose="020B0604020202020204" pitchFamily="34" charset="0"/>
                        <a:buChar char="•"/>
                      </a:pPr>
                      <a:r>
                        <a:rPr lang="en-ID" sz="1600" kern="1200" dirty="0" err="1">
                          <a:solidFill>
                            <a:schemeClr val="dk1"/>
                          </a:solidFill>
                          <a:effectLst/>
                        </a:rPr>
                        <a:t>mendefinisikan</a:t>
                      </a:r>
                      <a:r>
                        <a:rPr lang="en-ID" sz="1600" kern="1200" dirty="0">
                          <a:solidFill>
                            <a:schemeClr val="dk1"/>
                          </a:solidFill>
                          <a:effectLst/>
                        </a:rPr>
                        <a:t> “</a:t>
                      </a:r>
                      <a:r>
                        <a:rPr lang="en-ID" sz="1600" i="1" kern="1200" dirty="0">
                          <a:solidFill>
                            <a:schemeClr val="dk1"/>
                          </a:solidFill>
                          <a:effectLst/>
                        </a:rPr>
                        <a:t>problem</a:t>
                      </a:r>
                      <a:r>
                        <a:rPr lang="en-ID" sz="1600" kern="1200" dirty="0">
                          <a:solidFill>
                            <a:schemeClr val="dk1"/>
                          </a:solidFill>
                          <a:effectLst/>
                        </a:rPr>
                        <a:t>”</a:t>
                      </a:r>
                    </a:p>
                    <a:p>
                      <a:pPr marL="285750" indent="-285750">
                        <a:buFont typeface="Arial" panose="020B0604020202020204" pitchFamily="34" charset="0"/>
                        <a:buChar char="•"/>
                      </a:pPr>
                      <a:r>
                        <a:rPr lang="en-ID" sz="1600" kern="1200" dirty="0" err="1">
                          <a:solidFill>
                            <a:schemeClr val="dk1"/>
                          </a:solidFill>
                          <a:effectLst/>
                        </a:rPr>
                        <a:t>menginterpretasikan</a:t>
                      </a:r>
                      <a:r>
                        <a:rPr lang="en-ID" sz="1600" kern="1200" dirty="0">
                          <a:solidFill>
                            <a:schemeClr val="dk1"/>
                          </a:solidFill>
                          <a:effectLst/>
                        </a:rPr>
                        <a:t> </a:t>
                      </a:r>
                      <a:r>
                        <a:rPr lang="en-ID" sz="1600" kern="1200" dirty="0" err="1">
                          <a:solidFill>
                            <a:schemeClr val="dk1"/>
                          </a:solidFill>
                          <a:effectLst/>
                        </a:rPr>
                        <a:t>hasil</a:t>
                      </a:r>
                      <a:endParaRPr lang="en-AU" sz="1600" dirty="0"/>
                    </a:p>
                  </a:txBody>
                  <a:tcPr/>
                </a:tc>
                <a:tc>
                  <a:txBody>
                    <a:bodyPr/>
                    <a:lstStyle/>
                    <a:p>
                      <a:pPr marL="285750" indent="-285750">
                        <a:buFont typeface="Arial" panose="020B0604020202020204" pitchFamily="34" charset="0"/>
                        <a:buChar char="•"/>
                      </a:pPr>
                      <a:r>
                        <a:rPr lang="en-ID" sz="1600" kern="1200" dirty="0" err="1">
                          <a:solidFill>
                            <a:schemeClr val="dk1"/>
                          </a:solidFill>
                          <a:effectLst/>
                        </a:rPr>
                        <a:t>pengolah</a:t>
                      </a:r>
                      <a:r>
                        <a:rPr lang="en-ID" sz="1600" kern="1200" dirty="0">
                          <a:solidFill>
                            <a:schemeClr val="dk1"/>
                          </a:solidFill>
                          <a:effectLst/>
                        </a:rPr>
                        <a:t> data </a:t>
                      </a:r>
                      <a:r>
                        <a:rPr lang="en-ID" sz="1600" kern="1200" dirty="0" err="1">
                          <a:solidFill>
                            <a:schemeClr val="dk1"/>
                          </a:solidFill>
                          <a:effectLst/>
                        </a:rPr>
                        <a:t>untuk</a:t>
                      </a:r>
                      <a:r>
                        <a:rPr lang="en-ID" sz="1600" kern="1200" dirty="0">
                          <a:solidFill>
                            <a:schemeClr val="dk1"/>
                          </a:solidFill>
                          <a:effectLst/>
                        </a:rPr>
                        <a:t> </a:t>
                      </a:r>
                      <a:r>
                        <a:rPr lang="en-ID" sz="1600" kern="1200" dirty="0" err="1">
                          <a:solidFill>
                            <a:schemeClr val="dk1"/>
                          </a:solidFill>
                          <a:effectLst/>
                        </a:rPr>
                        <a:t>kebutuhan</a:t>
                      </a:r>
                      <a:r>
                        <a:rPr lang="en-ID" sz="1600" kern="1200" dirty="0">
                          <a:solidFill>
                            <a:schemeClr val="dk1"/>
                          </a:solidFill>
                          <a:effectLst/>
                        </a:rPr>
                        <a:t> </a:t>
                      </a:r>
                      <a:r>
                        <a:rPr lang="en-ID" sz="1600" kern="1200" dirty="0" err="1">
                          <a:solidFill>
                            <a:schemeClr val="dk1"/>
                          </a:solidFill>
                          <a:effectLst/>
                        </a:rPr>
                        <a:t>analisis</a:t>
                      </a:r>
                      <a:r>
                        <a:rPr lang="en-ID" sz="1600" kern="1200" dirty="0">
                          <a:solidFill>
                            <a:schemeClr val="dk1"/>
                          </a:solidFill>
                          <a:effectLst/>
                        </a:rPr>
                        <a:t> data </a:t>
                      </a:r>
                      <a:r>
                        <a:rPr lang="en-ID" sz="1600" kern="1200" dirty="0" err="1">
                          <a:solidFill>
                            <a:schemeClr val="dk1"/>
                          </a:solidFill>
                          <a:effectLst/>
                        </a:rPr>
                        <a:t>pengawasan</a:t>
                      </a:r>
                      <a:endParaRPr lang="en-ID" sz="1600" kern="1200" dirty="0">
                        <a:solidFill>
                          <a:schemeClr val="dk1"/>
                        </a:solidFill>
                        <a:effectLst/>
                      </a:endParaRPr>
                    </a:p>
                    <a:p>
                      <a:pPr marL="285750" indent="-285750">
                        <a:buFont typeface="Arial" panose="020B0604020202020204" pitchFamily="34" charset="0"/>
                        <a:buChar char="•"/>
                      </a:pPr>
                      <a:r>
                        <a:rPr lang="en-ID" sz="1600" kern="1200" dirty="0" err="1">
                          <a:solidFill>
                            <a:schemeClr val="dk1"/>
                          </a:solidFill>
                          <a:effectLst/>
                        </a:rPr>
                        <a:t>Kompetensi</a:t>
                      </a:r>
                      <a:r>
                        <a:rPr lang="en-ID" sz="1600" kern="1200" dirty="0">
                          <a:solidFill>
                            <a:schemeClr val="dk1"/>
                          </a:solidFill>
                          <a:effectLst/>
                        </a:rPr>
                        <a:t> </a:t>
                      </a:r>
                      <a:r>
                        <a:rPr lang="en-ID" sz="1600" kern="1200" dirty="0" err="1">
                          <a:solidFill>
                            <a:schemeClr val="dk1"/>
                          </a:solidFill>
                          <a:effectLst/>
                        </a:rPr>
                        <a:t>teknis</a:t>
                      </a:r>
                      <a:r>
                        <a:rPr lang="en-ID" sz="1600" kern="1200" dirty="0">
                          <a:solidFill>
                            <a:schemeClr val="dk1"/>
                          </a:solidFill>
                          <a:effectLst/>
                        </a:rPr>
                        <a:t> </a:t>
                      </a:r>
                      <a:r>
                        <a:rPr lang="en-ID" sz="1600" kern="1200" dirty="0" err="1">
                          <a:solidFill>
                            <a:schemeClr val="dk1"/>
                          </a:solidFill>
                          <a:effectLst/>
                        </a:rPr>
                        <a:t>atas</a:t>
                      </a:r>
                      <a:r>
                        <a:rPr lang="en-ID" sz="1600" kern="1200" dirty="0">
                          <a:solidFill>
                            <a:schemeClr val="dk1"/>
                          </a:solidFill>
                          <a:effectLst/>
                        </a:rPr>
                        <a:t> tools </a:t>
                      </a:r>
                      <a:r>
                        <a:rPr lang="en-ID" sz="1600" kern="1200" dirty="0" err="1">
                          <a:solidFill>
                            <a:schemeClr val="dk1"/>
                          </a:solidFill>
                          <a:effectLst/>
                        </a:rPr>
                        <a:t>analisis</a:t>
                      </a:r>
                      <a:r>
                        <a:rPr lang="en-ID" sz="1600" kern="1200" dirty="0">
                          <a:solidFill>
                            <a:schemeClr val="dk1"/>
                          </a:solidFill>
                          <a:effectLst/>
                        </a:rPr>
                        <a:t> data</a:t>
                      </a:r>
                      <a:endParaRPr lang="en-ID" sz="1600" kern="1200" dirty="0">
                        <a:solidFill>
                          <a:schemeClr val="dk1"/>
                        </a:solidFill>
                        <a:effectLst/>
                        <a:latin typeface="+mn-lt"/>
                        <a:ea typeface="+mn-ea"/>
                        <a:cs typeface="+mn-cs"/>
                      </a:endParaRPr>
                    </a:p>
                  </a:txBody>
                  <a:tcPr/>
                </a:tc>
                <a:tc>
                  <a:txBody>
                    <a:bodyPr/>
                    <a:lstStyle/>
                    <a:p>
                      <a:pPr marL="285750" indent="-285750">
                        <a:buFont typeface="Arial" panose="020B0604020202020204" pitchFamily="34" charset="0"/>
                        <a:buChar char="•"/>
                      </a:pPr>
                      <a:r>
                        <a:rPr lang="en-ID" sz="1600" kern="1200" dirty="0" err="1">
                          <a:solidFill>
                            <a:schemeClr val="dk1"/>
                          </a:solidFill>
                          <a:effectLst/>
                        </a:rPr>
                        <a:t>mempersiapkan</a:t>
                      </a:r>
                      <a:r>
                        <a:rPr lang="en-ID" sz="1600" kern="1200" dirty="0">
                          <a:solidFill>
                            <a:schemeClr val="dk1"/>
                          </a:solidFill>
                          <a:effectLst/>
                        </a:rPr>
                        <a:t> data </a:t>
                      </a:r>
                      <a:r>
                        <a:rPr lang="en-ID" sz="1600" kern="1200" dirty="0" err="1">
                          <a:solidFill>
                            <a:schemeClr val="dk1"/>
                          </a:solidFill>
                          <a:effectLst/>
                        </a:rPr>
                        <a:t>untuk</a:t>
                      </a:r>
                      <a:r>
                        <a:rPr lang="en-ID" sz="1600" kern="1200" dirty="0">
                          <a:solidFill>
                            <a:schemeClr val="dk1"/>
                          </a:solidFill>
                          <a:effectLst/>
                        </a:rPr>
                        <a:t> </a:t>
                      </a:r>
                      <a:r>
                        <a:rPr lang="en-ID" sz="1600" kern="1200" dirty="0" err="1">
                          <a:solidFill>
                            <a:schemeClr val="dk1"/>
                          </a:solidFill>
                          <a:effectLst/>
                        </a:rPr>
                        <a:t>diolah</a:t>
                      </a:r>
                      <a:r>
                        <a:rPr lang="en-ID" sz="1600" kern="1200" dirty="0">
                          <a:solidFill>
                            <a:schemeClr val="dk1"/>
                          </a:solidFill>
                          <a:effectLst/>
                        </a:rPr>
                        <a:t> </a:t>
                      </a:r>
                      <a:r>
                        <a:rPr lang="en-ID" sz="1600" kern="1200" dirty="0" err="1">
                          <a:solidFill>
                            <a:schemeClr val="dk1"/>
                          </a:solidFill>
                          <a:effectLst/>
                        </a:rPr>
                        <a:t>lebih</a:t>
                      </a:r>
                      <a:r>
                        <a:rPr lang="en-ID" sz="1600" kern="1200" dirty="0">
                          <a:solidFill>
                            <a:schemeClr val="dk1"/>
                          </a:solidFill>
                          <a:effectLst/>
                        </a:rPr>
                        <a:t> </a:t>
                      </a:r>
                      <a:r>
                        <a:rPr lang="en-ID" sz="1600" kern="1200" dirty="0" err="1">
                          <a:solidFill>
                            <a:schemeClr val="dk1"/>
                          </a:solidFill>
                          <a:effectLst/>
                        </a:rPr>
                        <a:t>lanjut</a:t>
                      </a:r>
                      <a:endParaRPr lang="en-ID" sz="1600" kern="1200" dirty="0">
                        <a:solidFill>
                          <a:schemeClr val="dk1"/>
                        </a:solidFill>
                        <a:effectLst/>
                      </a:endParaRPr>
                    </a:p>
                    <a:p>
                      <a:pPr marL="285750" indent="-285750">
                        <a:buFont typeface="Arial" panose="020B0604020202020204" pitchFamily="34" charset="0"/>
                        <a:buChar char="•"/>
                      </a:pPr>
                      <a:r>
                        <a:rPr lang="en-ID" sz="1600" kern="1200" dirty="0">
                          <a:solidFill>
                            <a:schemeClr val="dk1"/>
                          </a:solidFill>
                          <a:effectLst/>
                        </a:rPr>
                        <a:t>proses ETL </a:t>
                      </a:r>
                      <a:r>
                        <a:rPr lang="en-ID" sz="1600" kern="1200" dirty="0" err="1">
                          <a:solidFill>
                            <a:schemeClr val="dk1"/>
                          </a:solidFill>
                          <a:effectLst/>
                        </a:rPr>
                        <a:t>untuk</a:t>
                      </a:r>
                      <a:r>
                        <a:rPr lang="en-ID" sz="1600" kern="1200" dirty="0">
                          <a:solidFill>
                            <a:schemeClr val="dk1"/>
                          </a:solidFill>
                          <a:effectLst/>
                        </a:rPr>
                        <a:t> </a:t>
                      </a:r>
                      <a:r>
                        <a:rPr lang="en-ID" sz="1600" kern="1200" dirty="0" err="1">
                          <a:solidFill>
                            <a:schemeClr val="dk1"/>
                          </a:solidFill>
                          <a:effectLst/>
                        </a:rPr>
                        <a:t>menguji</a:t>
                      </a:r>
                      <a:r>
                        <a:rPr lang="en-ID" sz="1600" kern="1200" dirty="0">
                          <a:solidFill>
                            <a:schemeClr val="dk1"/>
                          </a:solidFill>
                          <a:effectLst/>
                        </a:rPr>
                        <a:t> dan </a:t>
                      </a:r>
                      <a:r>
                        <a:rPr lang="en-ID" sz="1600" kern="1200" dirty="0" err="1">
                          <a:solidFill>
                            <a:schemeClr val="dk1"/>
                          </a:solidFill>
                          <a:effectLst/>
                        </a:rPr>
                        <a:t>menjaga</a:t>
                      </a:r>
                      <a:r>
                        <a:rPr lang="en-ID" sz="1600" kern="1200" dirty="0">
                          <a:solidFill>
                            <a:schemeClr val="dk1"/>
                          </a:solidFill>
                          <a:effectLst/>
                        </a:rPr>
                        <a:t> </a:t>
                      </a:r>
                      <a:r>
                        <a:rPr lang="en-ID" sz="1600" kern="1200" dirty="0" err="1">
                          <a:solidFill>
                            <a:schemeClr val="dk1"/>
                          </a:solidFill>
                          <a:effectLst/>
                        </a:rPr>
                        <a:t>validitas</a:t>
                      </a:r>
                      <a:r>
                        <a:rPr lang="en-ID" sz="1600" kern="1200" dirty="0">
                          <a:solidFill>
                            <a:schemeClr val="dk1"/>
                          </a:solidFill>
                          <a:effectLst/>
                        </a:rPr>
                        <a:t> data</a:t>
                      </a:r>
                      <a:endParaRPr lang="en-AU" sz="1600" dirty="0"/>
                    </a:p>
                  </a:txBody>
                  <a:tcPr/>
                </a:tc>
                <a:extLst>
                  <a:ext uri="{0D108BD9-81ED-4DB2-BD59-A6C34878D82A}">
                    <a16:rowId xmlns:a16="http://schemas.microsoft.com/office/drawing/2014/main" val="4246439601"/>
                  </a:ext>
                </a:extLst>
              </a:tr>
              <a:tr h="974486">
                <a:tc>
                  <a:txBody>
                    <a:bodyPr/>
                    <a:lstStyle/>
                    <a:p>
                      <a:r>
                        <a:rPr lang="en-US" sz="1600" dirty="0" err="1"/>
                        <a:t>Inspektur</a:t>
                      </a:r>
                      <a:r>
                        <a:rPr lang="en-US" sz="1600" dirty="0"/>
                        <a:t> </a:t>
                      </a:r>
                      <a:r>
                        <a:rPr lang="en-US" sz="1600" dirty="0" err="1"/>
                        <a:t>Jenderal</a:t>
                      </a:r>
                      <a:r>
                        <a:rPr lang="en-US" sz="1600" dirty="0"/>
                        <a:t> </a:t>
                      </a:r>
                      <a:r>
                        <a:rPr lang="en-US" sz="1600" dirty="0" err="1"/>
                        <a:t>atau</a:t>
                      </a:r>
                      <a:r>
                        <a:rPr lang="en-US" sz="1600" dirty="0"/>
                        <a:t> </a:t>
                      </a:r>
                      <a:r>
                        <a:rPr lang="en-US" sz="1600" dirty="0" err="1"/>
                        <a:t>Inspektur</a:t>
                      </a:r>
                      <a:endParaRPr lang="en-AU" sz="1600" dirty="0"/>
                    </a:p>
                  </a:txBody>
                  <a:tcPr/>
                </a:tc>
                <a:tc>
                  <a:txBody>
                    <a:bodyPr/>
                    <a:lstStyle/>
                    <a:p>
                      <a:r>
                        <a:rPr lang="en-ID" sz="1600" kern="1200" dirty="0">
                          <a:solidFill>
                            <a:schemeClr val="dk1"/>
                          </a:solidFill>
                          <a:effectLst/>
                        </a:rPr>
                        <a:t>Auditor Utama, Auditor Madya, </a:t>
                      </a:r>
                      <a:r>
                        <a:rPr lang="en-ID" sz="1600" kern="1200" dirty="0" err="1">
                          <a:solidFill>
                            <a:schemeClr val="dk1"/>
                          </a:solidFill>
                          <a:effectLst/>
                        </a:rPr>
                        <a:t>atau</a:t>
                      </a:r>
                      <a:r>
                        <a:rPr lang="en-ID" sz="1600" kern="1200" dirty="0">
                          <a:solidFill>
                            <a:schemeClr val="dk1"/>
                          </a:solidFill>
                          <a:effectLst/>
                        </a:rPr>
                        <a:t> Auditor Muda senior</a:t>
                      </a:r>
                      <a:endParaRPr lang="en-AU" sz="1600" dirty="0"/>
                    </a:p>
                  </a:txBody>
                  <a:tcPr/>
                </a:tc>
                <a:tc>
                  <a:txBody>
                    <a:bodyPr/>
                    <a:lstStyle/>
                    <a:p>
                      <a:r>
                        <a:rPr lang="en-ID" sz="1600" kern="1200" dirty="0">
                          <a:solidFill>
                            <a:schemeClr val="dk1"/>
                          </a:solidFill>
                          <a:effectLst/>
                        </a:rPr>
                        <a:t>Auditor Muda </a:t>
                      </a:r>
                      <a:r>
                        <a:rPr lang="en-ID" sz="1600" kern="1200" dirty="0" err="1">
                          <a:solidFill>
                            <a:schemeClr val="dk1"/>
                          </a:solidFill>
                          <a:effectLst/>
                        </a:rPr>
                        <a:t>atau</a:t>
                      </a:r>
                      <a:r>
                        <a:rPr lang="en-ID" sz="1600" kern="1200" dirty="0">
                          <a:solidFill>
                            <a:schemeClr val="dk1"/>
                          </a:solidFill>
                          <a:effectLst/>
                        </a:rPr>
                        <a:t> Auditor </a:t>
                      </a:r>
                      <a:r>
                        <a:rPr lang="en-ID" sz="1600" kern="1200" dirty="0" err="1">
                          <a:solidFill>
                            <a:schemeClr val="dk1"/>
                          </a:solidFill>
                          <a:effectLst/>
                        </a:rPr>
                        <a:t>Pelaksana</a:t>
                      </a:r>
                      <a:r>
                        <a:rPr lang="en-ID" sz="1600" kern="1200" dirty="0">
                          <a:solidFill>
                            <a:schemeClr val="dk1"/>
                          </a:solidFill>
                          <a:effectLst/>
                        </a:rPr>
                        <a:t> dan Auditor </a:t>
                      </a:r>
                      <a:r>
                        <a:rPr lang="en-ID" sz="1600" kern="1200" dirty="0" err="1">
                          <a:solidFill>
                            <a:schemeClr val="dk1"/>
                          </a:solidFill>
                          <a:effectLst/>
                        </a:rPr>
                        <a:t>Pelaksana</a:t>
                      </a:r>
                      <a:r>
                        <a:rPr lang="en-ID" sz="1600" kern="1200" dirty="0">
                          <a:solidFill>
                            <a:schemeClr val="dk1"/>
                          </a:solidFill>
                          <a:effectLst/>
                        </a:rPr>
                        <a:t> </a:t>
                      </a:r>
                      <a:r>
                        <a:rPr lang="en-ID" sz="1600" kern="1200" dirty="0" err="1">
                          <a:solidFill>
                            <a:schemeClr val="dk1"/>
                          </a:solidFill>
                          <a:effectLst/>
                        </a:rPr>
                        <a:t>Lanjutan</a:t>
                      </a:r>
                      <a:r>
                        <a:rPr lang="en-ID" sz="1600" kern="1200" dirty="0">
                          <a:solidFill>
                            <a:schemeClr val="dk1"/>
                          </a:solidFill>
                          <a:effectLst/>
                        </a:rPr>
                        <a:t> senior</a:t>
                      </a:r>
                      <a:endParaRPr lang="en-AU" sz="1600" dirty="0"/>
                    </a:p>
                  </a:txBody>
                  <a:tcPr/>
                </a:tc>
                <a:tc>
                  <a:txBody>
                    <a:bodyPr/>
                    <a:lstStyle/>
                    <a:p>
                      <a:r>
                        <a:rPr lang="en-ID" sz="1600" kern="1200" dirty="0">
                          <a:solidFill>
                            <a:schemeClr val="dk1"/>
                          </a:solidFill>
                          <a:effectLst/>
                        </a:rPr>
                        <a:t>Auditor </a:t>
                      </a:r>
                      <a:r>
                        <a:rPr lang="en-ID" sz="1600" kern="1200" dirty="0" err="1">
                          <a:solidFill>
                            <a:schemeClr val="dk1"/>
                          </a:solidFill>
                          <a:effectLst/>
                        </a:rPr>
                        <a:t>Pelaksana</a:t>
                      </a:r>
                      <a:r>
                        <a:rPr lang="en-ID" sz="1600" kern="1200" dirty="0">
                          <a:solidFill>
                            <a:schemeClr val="dk1"/>
                          </a:solidFill>
                          <a:effectLst/>
                        </a:rPr>
                        <a:t> </a:t>
                      </a:r>
                      <a:r>
                        <a:rPr lang="en-ID" sz="1600" kern="1200" dirty="0" err="1">
                          <a:solidFill>
                            <a:schemeClr val="dk1"/>
                          </a:solidFill>
                          <a:effectLst/>
                        </a:rPr>
                        <a:t>atau</a:t>
                      </a:r>
                      <a:r>
                        <a:rPr lang="en-ID" sz="1600" kern="1200" dirty="0">
                          <a:solidFill>
                            <a:schemeClr val="dk1"/>
                          </a:solidFill>
                          <a:effectLst/>
                        </a:rPr>
                        <a:t> Auditor </a:t>
                      </a:r>
                      <a:r>
                        <a:rPr lang="en-ID" sz="1600" kern="1200" dirty="0" err="1">
                          <a:solidFill>
                            <a:schemeClr val="dk1"/>
                          </a:solidFill>
                          <a:effectLst/>
                        </a:rPr>
                        <a:t>Pelaksana</a:t>
                      </a:r>
                      <a:r>
                        <a:rPr lang="en-ID" sz="1600" kern="1200" dirty="0">
                          <a:solidFill>
                            <a:schemeClr val="dk1"/>
                          </a:solidFill>
                          <a:effectLst/>
                        </a:rPr>
                        <a:t> </a:t>
                      </a:r>
                      <a:r>
                        <a:rPr lang="en-ID" sz="1600" kern="1200" dirty="0" err="1">
                          <a:solidFill>
                            <a:schemeClr val="dk1"/>
                          </a:solidFill>
                          <a:effectLst/>
                        </a:rPr>
                        <a:t>Lanjutan</a:t>
                      </a:r>
                      <a:endParaRPr lang="en-AU" sz="1600" dirty="0"/>
                    </a:p>
                  </a:txBody>
                  <a:tcPr/>
                </a:tc>
                <a:extLst>
                  <a:ext uri="{0D108BD9-81ED-4DB2-BD59-A6C34878D82A}">
                    <a16:rowId xmlns:a16="http://schemas.microsoft.com/office/drawing/2014/main" val="4116858005"/>
                  </a:ext>
                </a:extLst>
              </a:tr>
            </a:tbl>
          </a:graphicData>
        </a:graphic>
      </p:graphicFrame>
      <p:pic>
        <p:nvPicPr>
          <p:cNvPr id="5" name="Picture 4" descr="A group of people posing for a photo&#10;&#10;Description automatically generated with medium confidence">
            <a:extLst>
              <a:ext uri="{FF2B5EF4-FFF2-40B4-BE49-F238E27FC236}">
                <a16:creationId xmlns:a16="http://schemas.microsoft.com/office/drawing/2014/main" id="{8BEDB098-D469-42A3-AE2D-A3AB185DA9C1}"/>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8327" b="49596" l="25667" r="40340">
                        <a14:foregroundMark x1="32215" y1="8367" x2="32336" y2="13541"/>
                        <a14:foregroundMark x1="30356" y1="45715" x2="29022" y2="49475"/>
                        <a14:foregroundMark x1="35530" y1="48747" x2="36378" y2="49596"/>
                        <a14:foregroundMark x1="40340" y1="22191" x2="39572" y2="21180"/>
                        <a14:foregroundMark x1="25667" y1="21908" x2="26880" y2="20897"/>
                      </a14:backgroundRemoval>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4"/>
              </a:ext>
            </a:extLst>
          </a:blip>
          <a:srcRect l="24384" t="7036" r="58279" b="49623"/>
          <a:stretch/>
        </p:blipFill>
        <p:spPr>
          <a:xfrm>
            <a:off x="1367845" y="1365673"/>
            <a:ext cx="965781" cy="2414454"/>
          </a:xfrm>
          <a:prstGeom prst="rect">
            <a:avLst/>
          </a:prstGeom>
        </p:spPr>
      </p:pic>
      <p:pic>
        <p:nvPicPr>
          <p:cNvPr id="7" name="Picture 6" descr="A group of people posing for a photo&#10;&#10;Description automatically generated with medium confidence">
            <a:extLst>
              <a:ext uri="{FF2B5EF4-FFF2-40B4-BE49-F238E27FC236}">
                <a16:creationId xmlns:a16="http://schemas.microsoft.com/office/drawing/2014/main" id="{FF97C3FC-404A-475B-A9D0-10577A436D8F}"/>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51536" b="92563" l="60065" r="76031">
                        <a14:foregroundMark x1="66289" y1="51576" x2="67057" y2="56750"/>
                        <a14:foregroundMark x1="60065" y1="62854" x2="60550" y2="64349"/>
                        <a14:foregroundMark x1="74939" y1="56629" x2="76071" y2="55335"/>
                        <a14:foregroundMark x1="68270" y1="88925" x2="68270" y2="89208"/>
                        <a14:foregroundMark x1="68068" y1="90016" x2="68068" y2="90784"/>
                        <a14:foregroundMark x1="61964" y1="92401" x2="62813" y2="89572"/>
                        <a14:foregroundMark x1="68432" y1="92563" x2="67987" y2="91633"/>
                      </a14:backgroundRemoval>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4"/>
              </a:ext>
            </a:extLst>
          </a:blip>
          <a:srcRect l="59286" t="49932" r="23377" b="6727"/>
          <a:stretch/>
        </p:blipFill>
        <p:spPr>
          <a:xfrm>
            <a:off x="4328615" y="1365673"/>
            <a:ext cx="965781" cy="2414454"/>
          </a:xfrm>
          <a:prstGeom prst="rect">
            <a:avLst/>
          </a:prstGeom>
        </p:spPr>
      </p:pic>
      <p:pic>
        <p:nvPicPr>
          <p:cNvPr id="8" name="Picture 4">
            <a:extLst>
              <a:ext uri="{FF2B5EF4-FFF2-40B4-BE49-F238E27FC236}">
                <a16:creationId xmlns:a16="http://schemas.microsoft.com/office/drawing/2014/main" id="{BED36C0C-0167-4DBA-AF46-B25F4DC9C2DA}"/>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8000" b="93000" l="28415" r="71220">
                        <a14:foregroundMark x1="32927" y1="44000" x2="28659" y2="61800"/>
                        <a14:foregroundMark x1="29756" y1="61000" x2="29756" y2="59000"/>
                        <a14:foregroundMark x1="28415" y1="63000" x2="28659" y2="61600"/>
                        <a14:foregroundMark x1="29390" y1="62200" x2="30366" y2="61800"/>
                        <a14:foregroundMark x1="37073" y1="33600" x2="38171" y2="45400"/>
                        <a14:foregroundMark x1="33049" y1="92600" x2="35732" y2="90200"/>
                        <a14:foregroundMark x1="49878" y1="36600" x2="53049" y2="28600"/>
                        <a14:foregroundMark x1="46951" y1="13600" x2="56220" y2="13800"/>
                        <a14:foregroundMark x1="56220" y1="13800" x2="65732" y2="13600"/>
                        <a14:foregroundMark x1="65732" y1="13600" x2="67927" y2="13800"/>
                        <a14:foregroundMark x1="46951" y1="12200" x2="60244" y2="57600"/>
                        <a14:foregroundMark x1="70854" y1="57400" x2="70610" y2="14000"/>
                        <a14:foregroundMark x1="70610" y1="14000" x2="71098" y2="12200"/>
                        <a14:foregroundMark x1="70000" y1="12200" x2="49024" y2="13000"/>
                        <a14:foregroundMark x1="48415" y1="11600" x2="54756" y2="11600"/>
                        <a14:foregroundMark x1="54756" y1="11600" x2="69634" y2="10800"/>
                        <a14:foregroundMark x1="71463" y1="9800" x2="45976" y2="8200"/>
                        <a14:foregroundMark x1="48780" y1="92600" x2="48902" y2="91200"/>
                        <a14:foregroundMark x1="67683" y1="93000" x2="66829" y2="90000"/>
                        <a14:foregroundMark x1="61463" y1="58000" x2="62073" y2="63800"/>
                        <a14:foregroundMark x1="55610" y1="59000" x2="54024" y2="64800"/>
                        <a14:foregroundMark x1="58171" y1="59000" x2="58415" y2="83200"/>
                        <a14:foregroundMark x1="55000" y1="58000" x2="44512" y2="58000"/>
                        <a14:foregroundMark x1="32561" y1="92400" x2="34024" y2="91400"/>
                        <a14:foregroundMark x1="41220" y1="92600" x2="40000" y2="90600"/>
                        <a14:foregroundMark x1="40000" y1="90600" x2="40000" y2="90600"/>
                        <a14:backgroundMark x1="37317" y1="77600" x2="37683" y2="81800"/>
                      </a14:backgroundRemoval>
                    </a14:imgEffect>
                  </a14:imgLayer>
                </a14:imgProps>
              </a:ext>
              <a:ext uri="{28A0092B-C50C-407E-A947-70E740481C1C}">
                <a14:useLocalDpi xmlns:a14="http://schemas.microsoft.com/office/drawing/2010/main" val="0"/>
              </a:ext>
            </a:extLst>
          </a:blip>
          <a:srcRect l="26725" t="5003" r="26586" b="2425"/>
          <a:stretch/>
        </p:blipFill>
        <p:spPr bwMode="auto">
          <a:xfrm>
            <a:off x="6423753" y="1365673"/>
            <a:ext cx="1997140" cy="241445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a:extLst>
              <a:ext uri="{FF2B5EF4-FFF2-40B4-BE49-F238E27FC236}">
                <a16:creationId xmlns:a16="http://schemas.microsoft.com/office/drawing/2014/main" id="{FC1494B6-AE00-42BA-8F12-A8D2403D8FF9}"/>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14306" b="75139" l="42344" r="55156">
                        <a14:foregroundMark x1="48203" y1="16667" x2="51250" y2="14583"/>
                        <a14:foregroundMark x1="42891" y1="29722" x2="42734" y2="29444"/>
                        <a14:foregroundMark x1="42344" y1="34306" x2="42578" y2="33472"/>
                        <a14:foregroundMark x1="47734" y1="58611" x2="48359" y2="62778"/>
                        <a14:foregroundMark x1="51016" y1="58333" x2="51439" y2="61250"/>
                        <a14:foregroundMark x1="48353" y1="63889" x2="48335" y2="66185"/>
                        <a14:foregroundMark x1="52656" y1="73472" x2="53438" y2="75139"/>
                        <a14:foregroundMark x1="55156" y1="39028" x2="55078" y2="37917"/>
                        <a14:foregroundMark x1="49609" y1="25417" x2="50156" y2="28333"/>
                        <a14:foregroundMark x1="48203" y1="26806" x2="48203" y2="29861"/>
                        <a14:backgroundMark x1="52266" y1="39167" x2="52578" y2="37639"/>
                        <a14:backgroundMark x1="49453" y1="54583" x2="49609" y2="56806"/>
                        <a14:backgroundMark x1="50156" y1="61250" x2="50156" y2="63889"/>
                        <a14:backgroundMark x1="50313" y1="66111" x2="50391" y2="72639"/>
                        <a14:backgroundMark x1="50391" y1="72639" x2="50391" y2="72639"/>
                        <a14:backgroundMark x1="49297" y1="50972" x2="49297" y2="50139"/>
                      </a14:backgroundRemoval>
                    </a14:imgEffect>
                  </a14:imgLayer>
                </a14:imgProps>
              </a:ext>
              <a:ext uri="{28A0092B-C50C-407E-A947-70E740481C1C}">
                <a14:useLocalDpi xmlns:a14="http://schemas.microsoft.com/office/drawing/2010/main" val="0"/>
              </a:ext>
            </a:extLst>
          </a:blip>
          <a:srcRect l="41684" t="11368" r="43553" b="23649"/>
          <a:stretch/>
        </p:blipFill>
        <p:spPr bwMode="auto">
          <a:xfrm>
            <a:off x="9662615" y="1365673"/>
            <a:ext cx="975169" cy="2414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5668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A1A0F4-A345-4B79-ACA5-05FCEB0F04D9}"/>
              </a:ext>
            </a:extLst>
          </p:cNvPr>
          <p:cNvSpPr/>
          <p:nvPr/>
        </p:nvSpPr>
        <p:spPr>
          <a:xfrm>
            <a:off x="1206631" y="1676064"/>
            <a:ext cx="4726233" cy="4420468"/>
          </a:xfrm>
          <a:prstGeom prst="rect">
            <a:avLst/>
          </a:prstGeom>
          <a:solidFill>
            <a:srgbClr val="003465">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 Placeholder 6">
            <a:extLst>
              <a:ext uri="{FF2B5EF4-FFF2-40B4-BE49-F238E27FC236}">
                <a16:creationId xmlns:a16="http://schemas.microsoft.com/office/drawing/2014/main" id="{D9B690EC-2FEE-4316-A8F2-7726F49B6465}"/>
              </a:ext>
            </a:extLst>
          </p:cNvPr>
          <p:cNvSpPr>
            <a:spLocks noGrp="1"/>
          </p:cNvSpPr>
          <p:nvPr>
            <p:ph type="body" idx="3"/>
          </p:nvPr>
        </p:nvSpPr>
        <p:spPr>
          <a:xfrm>
            <a:off x="6096001" y="3522547"/>
            <a:ext cx="5869258" cy="1183267"/>
          </a:xfrm>
        </p:spPr>
        <p:txBody>
          <a:bodyPr>
            <a:normAutofit fontScale="85000" lnSpcReduction="10000"/>
          </a:bodyPr>
          <a:lstStyle/>
          <a:p>
            <a:r>
              <a:rPr lang="en-US" sz="4000" dirty="0"/>
              <a:t>Teknik Audit </a:t>
            </a:r>
            <a:r>
              <a:rPr lang="en-US" sz="4000" dirty="0" err="1"/>
              <a:t>Berbantuan</a:t>
            </a:r>
            <a:r>
              <a:rPr lang="en-US" sz="4000" dirty="0"/>
              <a:t> </a:t>
            </a:r>
            <a:r>
              <a:rPr lang="en-US" sz="4000" dirty="0" err="1"/>
              <a:t>Komputer</a:t>
            </a:r>
            <a:r>
              <a:rPr lang="en-US" sz="4000" dirty="0"/>
              <a:t> (TABK)</a:t>
            </a:r>
          </a:p>
        </p:txBody>
      </p:sp>
      <p:pic>
        <p:nvPicPr>
          <p:cNvPr id="9" name="Picture Placeholder 5">
            <a:extLst>
              <a:ext uri="{FF2B5EF4-FFF2-40B4-BE49-F238E27FC236}">
                <a16:creationId xmlns:a16="http://schemas.microsoft.com/office/drawing/2014/main" id="{A477ADE3-EB05-481F-8D6B-6A70718BB778}"/>
              </a:ext>
            </a:extLst>
          </p:cNvPr>
          <p:cNvPicPr>
            <a:picLocks noChangeAspect="1"/>
          </p:cNvPicPr>
          <p:nvPr/>
        </p:nvPicPr>
        <p:blipFill>
          <a:blip r:embed="rId2">
            <a:extLst>
              <a:ext uri="{BEBA8EAE-BF5A-486C-A8C5-ECC9F3942E4B}">
                <a14:imgProps xmlns:a14="http://schemas.microsoft.com/office/drawing/2010/main">
                  <a14:imgLayer r:embed="rId3">
                    <a14:imgEffect>
                      <a14:saturation sat="92000"/>
                    </a14:imgEffect>
                  </a14:imgLayer>
                </a14:imgProps>
              </a:ext>
            </a:extLst>
          </a:blip>
          <a:srcRect t="18408" b="18408"/>
          <a:stretch>
            <a:fillRect/>
          </a:stretch>
        </p:blipFill>
        <p:spPr>
          <a:xfrm>
            <a:off x="0" y="1496836"/>
            <a:ext cx="4572000" cy="4778923"/>
          </a:xfrm>
          <a:prstGeom prst="rect">
            <a:avLst/>
          </a:prstGeom>
        </p:spPr>
      </p:pic>
    </p:spTree>
    <p:extLst>
      <p:ext uri="{BB962C8B-B14F-4D97-AF65-F5344CB8AC3E}">
        <p14:creationId xmlns:p14="http://schemas.microsoft.com/office/powerpoint/2010/main" val="2923025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5036" y="75674"/>
            <a:ext cx="8782963" cy="898576"/>
          </a:xfrm>
        </p:spPr>
        <p:txBody>
          <a:bodyPr>
            <a:normAutofit/>
          </a:bodyPr>
          <a:lstStyle/>
          <a:p>
            <a:r>
              <a:rPr lang="en-US" dirty="0" err="1"/>
              <a:t>Tahapan</a:t>
            </a:r>
            <a:r>
              <a:rPr lang="en-US" dirty="0"/>
              <a:t> Audit </a:t>
            </a:r>
            <a:r>
              <a:rPr lang="en-US" dirty="0" err="1"/>
              <a:t>Aplikasi</a:t>
            </a:r>
            <a:r>
              <a:rPr lang="en-US" dirty="0"/>
              <a:t> </a:t>
            </a:r>
            <a:r>
              <a:rPr lang="en-US" dirty="0" err="1"/>
              <a:t>dengan</a:t>
            </a:r>
            <a:r>
              <a:rPr lang="en-US" dirty="0"/>
              <a:t> TABK</a:t>
            </a:r>
            <a:endParaRPr lang="en-ID" dirty="0"/>
          </a:p>
        </p:txBody>
      </p:sp>
      <p:pic>
        <p:nvPicPr>
          <p:cNvPr id="25" name="Picture 24"/>
          <p:cNvPicPr>
            <a:picLocks noChangeAspect="1"/>
          </p:cNvPicPr>
          <p:nvPr/>
        </p:nvPicPr>
        <p:blipFill>
          <a:blip r:embed="rId2"/>
          <a:stretch>
            <a:fillRect/>
          </a:stretch>
        </p:blipFill>
        <p:spPr>
          <a:xfrm>
            <a:off x="664513" y="1209919"/>
            <a:ext cx="10694786" cy="4836447"/>
          </a:xfrm>
          <a:prstGeom prst="rect">
            <a:avLst/>
          </a:prstGeom>
        </p:spPr>
      </p:pic>
    </p:spTree>
    <p:extLst>
      <p:ext uri="{BB962C8B-B14F-4D97-AF65-F5344CB8AC3E}">
        <p14:creationId xmlns:p14="http://schemas.microsoft.com/office/powerpoint/2010/main" val="3850618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D475DE-3E66-4079-8238-D4B94E8C22D9}"/>
              </a:ext>
            </a:extLst>
          </p:cNvPr>
          <p:cNvSpPr>
            <a:spLocks noGrp="1"/>
          </p:cNvSpPr>
          <p:nvPr>
            <p:ph type="title"/>
          </p:nvPr>
        </p:nvSpPr>
        <p:spPr/>
        <p:txBody>
          <a:bodyPr/>
          <a:lstStyle/>
          <a:p>
            <a:r>
              <a:rPr lang="en-US"/>
              <a:t>OUTLINE</a:t>
            </a:r>
            <a:endParaRPr lang="en-ID" dirty="0"/>
          </a:p>
        </p:txBody>
      </p:sp>
      <p:grpSp>
        <p:nvGrpSpPr>
          <p:cNvPr id="12" name="Group 11">
            <a:extLst>
              <a:ext uri="{FF2B5EF4-FFF2-40B4-BE49-F238E27FC236}">
                <a16:creationId xmlns:a16="http://schemas.microsoft.com/office/drawing/2014/main" id="{B24F34E1-9329-4B92-8A27-249DA68F9AF0}"/>
              </a:ext>
            </a:extLst>
          </p:cNvPr>
          <p:cNvGrpSpPr/>
          <p:nvPr/>
        </p:nvGrpSpPr>
        <p:grpSpPr>
          <a:xfrm>
            <a:off x="1029229" y="3119357"/>
            <a:ext cx="9118381" cy="575951"/>
            <a:chOff x="2711053" y="2235874"/>
            <a:chExt cx="9118381" cy="575951"/>
          </a:xfrm>
        </p:grpSpPr>
        <p:sp>
          <p:nvSpPr>
            <p:cNvPr id="6" name="TextBox 5">
              <a:extLst>
                <a:ext uri="{FF2B5EF4-FFF2-40B4-BE49-F238E27FC236}">
                  <a16:creationId xmlns:a16="http://schemas.microsoft.com/office/drawing/2014/main" id="{5B0D8C0E-2F0D-4C3A-ACAF-736373B2E9D9}"/>
                </a:ext>
              </a:extLst>
            </p:cNvPr>
            <p:cNvSpPr txBox="1"/>
            <p:nvPr/>
          </p:nvSpPr>
          <p:spPr>
            <a:xfrm>
              <a:off x="3408544" y="2319382"/>
              <a:ext cx="8420890" cy="492443"/>
            </a:xfrm>
            <a:prstGeom prst="rect">
              <a:avLst/>
            </a:prstGeom>
            <a:noFill/>
          </p:spPr>
          <p:txBody>
            <a:bodyPr wrap="square" lIns="0" tIns="0" rIns="0" bIns="0" rtlCol="0">
              <a:spAutoFit/>
            </a:bodyPr>
            <a:lstStyle/>
            <a:p>
              <a:pPr lvl="0">
                <a:defRPr/>
              </a:pPr>
              <a:r>
                <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rPr>
                <a:t>Data Analytic </a:t>
              </a:r>
              <a:r>
                <a:rPr lang="en-US" sz="3200" b="1" dirty="0" err="1">
                  <a:solidFill>
                    <a:schemeClr val="bg1"/>
                  </a:solidFill>
                  <a:latin typeface="Tw Cen MT" panose="020B0602020104020603" pitchFamily="34" charset="0"/>
                  <a:ea typeface="Segoe UI Black" panose="020B0A02040204020203" pitchFamily="34" charset="0"/>
                  <a:cs typeface="Segoe UI" panose="020B0502040204020203" pitchFamily="34" charset="0"/>
                </a:rPr>
                <a:t>Dalam</a:t>
              </a:r>
              <a:r>
                <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rPr>
                <a:t> </a:t>
              </a:r>
              <a:r>
                <a:rPr lang="en-US" sz="3200" b="1" dirty="0" err="1">
                  <a:solidFill>
                    <a:schemeClr val="bg1"/>
                  </a:solidFill>
                  <a:latin typeface="Tw Cen MT" panose="020B0602020104020603" pitchFamily="34" charset="0"/>
                  <a:ea typeface="Segoe UI Black" panose="020B0A02040204020203" pitchFamily="34" charset="0"/>
                  <a:cs typeface="Segoe UI" panose="020B0502040204020203" pitchFamily="34" charset="0"/>
                </a:rPr>
                <a:t>Pengawasan</a:t>
              </a:r>
              <a:endPar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endParaRPr>
            </a:p>
          </p:txBody>
        </p:sp>
        <p:sp>
          <p:nvSpPr>
            <p:cNvPr id="7" name="Freeform: Shape 33">
              <a:extLst>
                <a:ext uri="{FF2B5EF4-FFF2-40B4-BE49-F238E27FC236}">
                  <a16:creationId xmlns:a16="http://schemas.microsoft.com/office/drawing/2014/main" id="{D3381D8B-4550-4D64-B3E2-41A3FADE561D}"/>
                </a:ext>
              </a:extLst>
            </p:cNvPr>
            <p:cNvSpPr/>
            <p:nvPr/>
          </p:nvSpPr>
          <p:spPr>
            <a:xfrm>
              <a:off x="2711053" y="2235874"/>
              <a:ext cx="487319" cy="575951"/>
            </a:xfrm>
            <a:custGeom>
              <a:avLst/>
              <a:gdLst>
                <a:gd name="connsiteX0" fmla="*/ 0 w 1001369"/>
                <a:gd name="connsiteY0" fmla="*/ 0 h 403267"/>
                <a:gd name="connsiteX1" fmla="*/ 100680 w 1001369"/>
                <a:gd name="connsiteY1" fmla="*/ 0 h 403267"/>
                <a:gd name="connsiteX2" fmla="*/ 656858 w 1001369"/>
                <a:gd name="connsiteY2" fmla="*/ 0 h 403267"/>
                <a:gd name="connsiteX3" fmla="*/ 1001369 w 1001369"/>
                <a:gd name="connsiteY3" fmla="*/ 0 h 403267"/>
                <a:gd name="connsiteX4" fmla="*/ 900690 w 1001369"/>
                <a:gd name="connsiteY4" fmla="*/ 402718 h 403267"/>
                <a:gd name="connsiteX5" fmla="*/ 656858 w 1001369"/>
                <a:gd name="connsiteY5" fmla="*/ 402718 h 403267"/>
                <a:gd name="connsiteX6" fmla="*/ 656858 w 1001369"/>
                <a:gd name="connsiteY6" fmla="*/ 403267 h 403267"/>
                <a:gd name="connsiteX7" fmla="*/ 0 w 1001369"/>
                <a:gd name="connsiteY7" fmla="*/ 403267 h 403267"/>
                <a:gd name="connsiteX8" fmla="*/ 0 w 1001369"/>
                <a:gd name="connsiteY8" fmla="*/ 402718 h 40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369" h="403267">
                  <a:moveTo>
                    <a:pt x="0" y="0"/>
                  </a:moveTo>
                  <a:lnTo>
                    <a:pt x="100680" y="0"/>
                  </a:lnTo>
                  <a:lnTo>
                    <a:pt x="656858" y="0"/>
                  </a:lnTo>
                  <a:lnTo>
                    <a:pt x="1001369" y="0"/>
                  </a:lnTo>
                  <a:lnTo>
                    <a:pt x="900690" y="402718"/>
                  </a:lnTo>
                  <a:lnTo>
                    <a:pt x="656858" y="402718"/>
                  </a:lnTo>
                  <a:lnTo>
                    <a:pt x="656858" y="403267"/>
                  </a:lnTo>
                  <a:lnTo>
                    <a:pt x="0" y="403267"/>
                  </a:lnTo>
                  <a:lnTo>
                    <a:pt x="0" y="402718"/>
                  </a:lnTo>
                  <a:close/>
                </a:path>
              </a:pathLst>
            </a:custGeom>
            <a:solidFill>
              <a:srgbClr val="457B9D"/>
            </a:solidFill>
            <a:ln w="12700" cap="flat" cmpd="sng" algn="ctr">
              <a:noFill/>
              <a:prstDash val="solid"/>
              <a:miter lim="800000"/>
            </a:ln>
            <a:effectLst>
              <a:outerShdw blurRad="254000" algn="ctr" rotWithShape="0">
                <a:srgbClr val="1D3557">
                  <a:alpha val="30000"/>
                </a:srgbClr>
              </a:outerShdw>
            </a:effectLst>
          </p:spPr>
          <p:txBody>
            <a:bodyPr rot="0" spcFirstLastPara="0" vertOverflow="overflow" horzOverflow="overflow" vert="horz" wrap="square" lIns="144000" tIns="72000" rIns="108000" bIns="72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800" b="1" dirty="0">
                  <a:solidFill>
                    <a:srgbClr val="ECF0F4"/>
                  </a:solidFill>
                  <a:latin typeface="Tw Cen MT" panose="020B0602020104020603" pitchFamily="34" charset="0"/>
                  <a:ea typeface="+mn-ea"/>
                  <a:cs typeface="Segoe UI" panose="020B0502040204020203" pitchFamily="34" charset="0"/>
                </a:rPr>
                <a:t>2</a:t>
              </a:r>
              <a:endParaRPr kumimoji="0" lang="en-US" sz="2800" b="1" i="0" u="none" strike="noStrike" kern="0" cap="none" spc="0" normalizeH="0" baseline="0" noProof="0" dirty="0">
                <a:ln>
                  <a:noFill/>
                </a:ln>
                <a:solidFill>
                  <a:srgbClr val="ECF0F4"/>
                </a:solidFill>
                <a:effectLst/>
                <a:uLnTx/>
                <a:uFillTx/>
                <a:latin typeface="Tw Cen MT" panose="020B0602020104020603" pitchFamily="34" charset="0"/>
                <a:ea typeface="+mn-ea"/>
                <a:cs typeface="Segoe UI" panose="020B0502040204020203" pitchFamily="34" charset="0"/>
              </a:endParaRPr>
            </a:p>
          </p:txBody>
        </p:sp>
      </p:grpSp>
      <p:grpSp>
        <p:nvGrpSpPr>
          <p:cNvPr id="13" name="Group 12">
            <a:extLst>
              <a:ext uri="{FF2B5EF4-FFF2-40B4-BE49-F238E27FC236}">
                <a16:creationId xmlns:a16="http://schemas.microsoft.com/office/drawing/2014/main" id="{89ED82EF-93DA-4430-870A-E8EFCAD68E77}"/>
              </a:ext>
            </a:extLst>
          </p:cNvPr>
          <p:cNvGrpSpPr/>
          <p:nvPr/>
        </p:nvGrpSpPr>
        <p:grpSpPr>
          <a:xfrm>
            <a:off x="1041299" y="4195386"/>
            <a:ext cx="10288340" cy="575951"/>
            <a:chOff x="2314813" y="3519844"/>
            <a:chExt cx="9362048" cy="575951"/>
          </a:xfrm>
        </p:grpSpPr>
        <p:sp>
          <p:nvSpPr>
            <p:cNvPr id="8" name="TextBox 7">
              <a:extLst>
                <a:ext uri="{FF2B5EF4-FFF2-40B4-BE49-F238E27FC236}">
                  <a16:creationId xmlns:a16="http://schemas.microsoft.com/office/drawing/2014/main" id="{1A8013A6-FA14-43DF-8150-A93A8D768F60}"/>
                </a:ext>
              </a:extLst>
            </p:cNvPr>
            <p:cNvSpPr txBox="1"/>
            <p:nvPr/>
          </p:nvSpPr>
          <p:spPr>
            <a:xfrm>
              <a:off x="3012304" y="3563878"/>
              <a:ext cx="8664557" cy="492443"/>
            </a:xfrm>
            <a:prstGeom prst="rect">
              <a:avLst/>
            </a:prstGeom>
            <a:noFill/>
          </p:spPr>
          <p:txBody>
            <a:bodyPr wrap="square" lIns="0" tIns="0" rIns="0" bIns="0" rtlCol="0">
              <a:spAutoFit/>
            </a:bodyPr>
            <a:lstStyle/>
            <a:p>
              <a:pPr lvl="0">
                <a:defRPr/>
              </a:pPr>
              <a:r>
                <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rPr>
                <a:t>Teknik Audit </a:t>
              </a:r>
              <a:r>
                <a:rPr lang="en-US" sz="3200" b="1" dirty="0" err="1">
                  <a:solidFill>
                    <a:schemeClr val="bg1"/>
                  </a:solidFill>
                  <a:latin typeface="Tw Cen MT" panose="020B0602020104020603" pitchFamily="34" charset="0"/>
                  <a:ea typeface="Segoe UI Black" panose="020B0A02040204020203" pitchFamily="34" charset="0"/>
                  <a:cs typeface="Segoe UI" panose="020B0502040204020203" pitchFamily="34" charset="0"/>
                </a:rPr>
                <a:t>Berbantuan</a:t>
              </a:r>
              <a:r>
                <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rPr>
                <a:t> </a:t>
              </a:r>
              <a:r>
                <a:rPr lang="en-US" sz="3200" b="1" dirty="0" err="1">
                  <a:solidFill>
                    <a:schemeClr val="bg1"/>
                  </a:solidFill>
                  <a:latin typeface="Tw Cen MT" panose="020B0602020104020603" pitchFamily="34" charset="0"/>
                  <a:ea typeface="Segoe UI Black" panose="020B0A02040204020203" pitchFamily="34" charset="0"/>
                  <a:cs typeface="Segoe UI" panose="020B0502040204020203" pitchFamily="34" charset="0"/>
                </a:rPr>
                <a:t>Komputer</a:t>
              </a:r>
              <a:r>
                <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rPr>
                <a:t> &amp; Continuous Audit</a:t>
              </a:r>
            </a:p>
          </p:txBody>
        </p:sp>
        <p:sp>
          <p:nvSpPr>
            <p:cNvPr id="9" name="Freeform: Shape 33">
              <a:extLst>
                <a:ext uri="{FF2B5EF4-FFF2-40B4-BE49-F238E27FC236}">
                  <a16:creationId xmlns:a16="http://schemas.microsoft.com/office/drawing/2014/main" id="{A61EC0D1-1975-433B-A46E-C611DFCE1561}"/>
                </a:ext>
              </a:extLst>
            </p:cNvPr>
            <p:cNvSpPr/>
            <p:nvPr/>
          </p:nvSpPr>
          <p:spPr>
            <a:xfrm>
              <a:off x="2314813" y="3519844"/>
              <a:ext cx="487319" cy="575951"/>
            </a:xfrm>
            <a:custGeom>
              <a:avLst/>
              <a:gdLst>
                <a:gd name="connsiteX0" fmla="*/ 0 w 1001369"/>
                <a:gd name="connsiteY0" fmla="*/ 0 h 403267"/>
                <a:gd name="connsiteX1" fmla="*/ 100680 w 1001369"/>
                <a:gd name="connsiteY1" fmla="*/ 0 h 403267"/>
                <a:gd name="connsiteX2" fmla="*/ 656858 w 1001369"/>
                <a:gd name="connsiteY2" fmla="*/ 0 h 403267"/>
                <a:gd name="connsiteX3" fmla="*/ 1001369 w 1001369"/>
                <a:gd name="connsiteY3" fmla="*/ 0 h 403267"/>
                <a:gd name="connsiteX4" fmla="*/ 900690 w 1001369"/>
                <a:gd name="connsiteY4" fmla="*/ 402718 h 403267"/>
                <a:gd name="connsiteX5" fmla="*/ 656858 w 1001369"/>
                <a:gd name="connsiteY5" fmla="*/ 402718 h 403267"/>
                <a:gd name="connsiteX6" fmla="*/ 656858 w 1001369"/>
                <a:gd name="connsiteY6" fmla="*/ 403267 h 403267"/>
                <a:gd name="connsiteX7" fmla="*/ 0 w 1001369"/>
                <a:gd name="connsiteY7" fmla="*/ 403267 h 403267"/>
                <a:gd name="connsiteX8" fmla="*/ 0 w 1001369"/>
                <a:gd name="connsiteY8" fmla="*/ 402718 h 40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369" h="403267">
                  <a:moveTo>
                    <a:pt x="0" y="0"/>
                  </a:moveTo>
                  <a:lnTo>
                    <a:pt x="100680" y="0"/>
                  </a:lnTo>
                  <a:lnTo>
                    <a:pt x="656858" y="0"/>
                  </a:lnTo>
                  <a:lnTo>
                    <a:pt x="1001369" y="0"/>
                  </a:lnTo>
                  <a:lnTo>
                    <a:pt x="900690" y="402718"/>
                  </a:lnTo>
                  <a:lnTo>
                    <a:pt x="656858" y="402718"/>
                  </a:lnTo>
                  <a:lnTo>
                    <a:pt x="656858" y="403267"/>
                  </a:lnTo>
                  <a:lnTo>
                    <a:pt x="0" y="403267"/>
                  </a:lnTo>
                  <a:lnTo>
                    <a:pt x="0" y="402718"/>
                  </a:lnTo>
                  <a:close/>
                </a:path>
              </a:pathLst>
            </a:custGeom>
            <a:solidFill>
              <a:srgbClr val="457B9D"/>
            </a:solidFill>
            <a:ln w="12700" cap="flat" cmpd="sng" algn="ctr">
              <a:noFill/>
              <a:prstDash val="solid"/>
              <a:miter lim="800000"/>
            </a:ln>
            <a:effectLst>
              <a:outerShdw blurRad="254000" algn="ctr" rotWithShape="0">
                <a:srgbClr val="1D3557">
                  <a:alpha val="30000"/>
                </a:srgbClr>
              </a:outerShdw>
            </a:effectLst>
          </p:spPr>
          <p:txBody>
            <a:bodyPr rot="0" spcFirstLastPara="0" vertOverflow="overflow" horzOverflow="overflow" vert="horz" wrap="square" lIns="144000" tIns="72000" rIns="108000" bIns="72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cap="none" spc="0" normalizeH="0" baseline="0" noProof="0" dirty="0">
                  <a:ln>
                    <a:noFill/>
                  </a:ln>
                  <a:solidFill>
                    <a:srgbClr val="ECF0F4"/>
                  </a:solidFill>
                  <a:effectLst/>
                  <a:uLnTx/>
                  <a:uFillTx/>
                  <a:latin typeface="Tw Cen MT" panose="020B0602020104020603" pitchFamily="34" charset="0"/>
                  <a:ea typeface="+mn-ea"/>
                  <a:cs typeface="Segoe UI" panose="020B0502040204020203" pitchFamily="34" charset="0"/>
                </a:rPr>
                <a:t>3</a:t>
              </a:r>
              <a:endParaRPr kumimoji="0" lang="en-US" sz="2800" b="1" i="0" u="none" strike="noStrike" kern="0" cap="none" spc="0" normalizeH="0" baseline="0" noProof="0" dirty="0">
                <a:ln>
                  <a:noFill/>
                </a:ln>
                <a:solidFill>
                  <a:srgbClr val="ECF0F4"/>
                </a:solidFill>
                <a:effectLst/>
                <a:uLnTx/>
                <a:uFillTx/>
                <a:latin typeface="Tw Cen MT" panose="020B0602020104020603" pitchFamily="34" charset="0"/>
                <a:ea typeface="+mn-ea"/>
                <a:cs typeface="Segoe UI" panose="020B0502040204020203" pitchFamily="34" charset="0"/>
              </a:endParaRPr>
            </a:p>
          </p:txBody>
        </p:sp>
      </p:grpSp>
      <p:grpSp>
        <p:nvGrpSpPr>
          <p:cNvPr id="15" name="Group 14">
            <a:extLst>
              <a:ext uri="{FF2B5EF4-FFF2-40B4-BE49-F238E27FC236}">
                <a16:creationId xmlns:a16="http://schemas.microsoft.com/office/drawing/2014/main" id="{778121E8-8B3E-4A8C-963C-85E16BB6FE09}"/>
              </a:ext>
            </a:extLst>
          </p:cNvPr>
          <p:cNvGrpSpPr/>
          <p:nvPr/>
        </p:nvGrpSpPr>
        <p:grpSpPr>
          <a:xfrm>
            <a:off x="1041299" y="5271415"/>
            <a:ext cx="7792146" cy="575951"/>
            <a:chOff x="1991791" y="4803814"/>
            <a:chExt cx="7792146" cy="575951"/>
          </a:xfrm>
        </p:grpSpPr>
        <p:sp>
          <p:nvSpPr>
            <p:cNvPr id="16" name="TextBox 15">
              <a:extLst>
                <a:ext uri="{FF2B5EF4-FFF2-40B4-BE49-F238E27FC236}">
                  <a16:creationId xmlns:a16="http://schemas.microsoft.com/office/drawing/2014/main" id="{B98E8A9A-FC8B-45C3-9799-EB86FE154DD8}"/>
                </a:ext>
              </a:extLst>
            </p:cNvPr>
            <p:cNvSpPr txBox="1"/>
            <p:nvPr/>
          </p:nvSpPr>
          <p:spPr>
            <a:xfrm>
              <a:off x="2677212" y="4845567"/>
              <a:ext cx="7106725" cy="492443"/>
            </a:xfrm>
            <a:prstGeom prst="rect">
              <a:avLst/>
            </a:prstGeom>
            <a:noFill/>
          </p:spPr>
          <p:txBody>
            <a:bodyPr wrap="square" lIns="0" tIns="0" rIns="0" bIns="0" rtlCol="0">
              <a:spAutoFit/>
            </a:bodyPr>
            <a:lstStyle/>
            <a:p>
              <a:pPr lvl="0">
                <a:defRPr/>
              </a:pPr>
              <a:r>
                <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rPr>
                <a:t>Data Science Projects</a:t>
              </a:r>
            </a:p>
          </p:txBody>
        </p:sp>
        <p:sp>
          <p:nvSpPr>
            <p:cNvPr id="17" name="Freeform: Shape 33">
              <a:extLst>
                <a:ext uri="{FF2B5EF4-FFF2-40B4-BE49-F238E27FC236}">
                  <a16:creationId xmlns:a16="http://schemas.microsoft.com/office/drawing/2014/main" id="{C3186704-10B6-4984-B9E9-DDA7AC967916}"/>
                </a:ext>
              </a:extLst>
            </p:cNvPr>
            <p:cNvSpPr/>
            <p:nvPr/>
          </p:nvSpPr>
          <p:spPr>
            <a:xfrm>
              <a:off x="1991791" y="4803814"/>
              <a:ext cx="487319" cy="575951"/>
            </a:xfrm>
            <a:custGeom>
              <a:avLst/>
              <a:gdLst>
                <a:gd name="connsiteX0" fmla="*/ 0 w 1001369"/>
                <a:gd name="connsiteY0" fmla="*/ 0 h 403267"/>
                <a:gd name="connsiteX1" fmla="*/ 100680 w 1001369"/>
                <a:gd name="connsiteY1" fmla="*/ 0 h 403267"/>
                <a:gd name="connsiteX2" fmla="*/ 656858 w 1001369"/>
                <a:gd name="connsiteY2" fmla="*/ 0 h 403267"/>
                <a:gd name="connsiteX3" fmla="*/ 1001369 w 1001369"/>
                <a:gd name="connsiteY3" fmla="*/ 0 h 403267"/>
                <a:gd name="connsiteX4" fmla="*/ 900690 w 1001369"/>
                <a:gd name="connsiteY4" fmla="*/ 402718 h 403267"/>
                <a:gd name="connsiteX5" fmla="*/ 656858 w 1001369"/>
                <a:gd name="connsiteY5" fmla="*/ 402718 h 403267"/>
                <a:gd name="connsiteX6" fmla="*/ 656858 w 1001369"/>
                <a:gd name="connsiteY6" fmla="*/ 403267 h 403267"/>
                <a:gd name="connsiteX7" fmla="*/ 0 w 1001369"/>
                <a:gd name="connsiteY7" fmla="*/ 403267 h 403267"/>
                <a:gd name="connsiteX8" fmla="*/ 0 w 1001369"/>
                <a:gd name="connsiteY8" fmla="*/ 402718 h 40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369" h="403267">
                  <a:moveTo>
                    <a:pt x="0" y="0"/>
                  </a:moveTo>
                  <a:lnTo>
                    <a:pt x="100680" y="0"/>
                  </a:lnTo>
                  <a:lnTo>
                    <a:pt x="656858" y="0"/>
                  </a:lnTo>
                  <a:lnTo>
                    <a:pt x="1001369" y="0"/>
                  </a:lnTo>
                  <a:lnTo>
                    <a:pt x="900690" y="402718"/>
                  </a:lnTo>
                  <a:lnTo>
                    <a:pt x="656858" y="402718"/>
                  </a:lnTo>
                  <a:lnTo>
                    <a:pt x="656858" y="403267"/>
                  </a:lnTo>
                  <a:lnTo>
                    <a:pt x="0" y="403267"/>
                  </a:lnTo>
                  <a:lnTo>
                    <a:pt x="0" y="402718"/>
                  </a:lnTo>
                  <a:close/>
                </a:path>
              </a:pathLst>
            </a:custGeom>
            <a:solidFill>
              <a:srgbClr val="457B9D"/>
            </a:solidFill>
            <a:ln w="12700" cap="flat" cmpd="sng" algn="ctr">
              <a:noFill/>
              <a:prstDash val="solid"/>
              <a:miter lim="800000"/>
            </a:ln>
            <a:effectLst>
              <a:outerShdw blurRad="254000" algn="ctr" rotWithShape="0">
                <a:srgbClr val="1D3557">
                  <a:alpha val="30000"/>
                </a:srgbClr>
              </a:outerShdw>
            </a:effectLst>
          </p:spPr>
          <p:txBody>
            <a:bodyPr rot="0" spcFirstLastPara="0" vertOverflow="overflow" horzOverflow="overflow" vert="horz" wrap="square" lIns="144000" tIns="72000" rIns="108000" bIns="72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800" b="1" dirty="0">
                  <a:solidFill>
                    <a:srgbClr val="ECF0F4"/>
                  </a:solidFill>
                  <a:latin typeface="Tw Cen MT" panose="020B0602020104020603" pitchFamily="34" charset="0"/>
                  <a:ea typeface="+mn-ea"/>
                  <a:cs typeface="Segoe UI" panose="020B0502040204020203" pitchFamily="34" charset="0"/>
                </a:rPr>
                <a:t>4</a:t>
              </a:r>
              <a:endParaRPr kumimoji="0" lang="en-US" sz="2800" b="1" i="0" u="none" strike="noStrike" kern="0" cap="none" spc="0" normalizeH="0" baseline="0" noProof="0" dirty="0">
                <a:ln>
                  <a:noFill/>
                </a:ln>
                <a:solidFill>
                  <a:srgbClr val="ECF0F4"/>
                </a:solidFill>
                <a:effectLst/>
                <a:uLnTx/>
                <a:uFillTx/>
                <a:latin typeface="Tw Cen MT" panose="020B0602020104020603" pitchFamily="34" charset="0"/>
                <a:ea typeface="+mn-ea"/>
                <a:cs typeface="Segoe UI" panose="020B0502040204020203" pitchFamily="34" charset="0"/>
              </a:endParaRPr>
            </a:p>
          </p:txBody>
        </p:sp>
      </p:grpSp>
      <p:grpSp>
        <p:nvGrpSpPr>
          <p:cNvPr id="2" name="Group 1">
            <a:extLst>
              <a:ext uri="{FF2B5EF4-FFF2-40B4-BE49-F238E27FC236}">
                <a16:creationId xmlns:a16="http://schemas.microsoft.com/office/drawing/2014/main" id="{C528E9BD-4C80-A63D-0C54-4CDD1D86A9FF}"/>
              </a:ext>
            </a:extLst>
          </p:cNvPr>
          <p:cNvGrpSpPr/>
          <p:nvPr/>
        </p:nvGrpSpPr>
        <p:grpSpPr>
          <a:xfrm>
            <a:off x="1029229" y="2043328"/>
            <a:ext cx="9118381" cy="575951"/>
            <a:chOff x="2711053" y="2235874"/>
            <a:chExt cx="9118381" cy="575951"/>
          </a:xfrm>
        </p:grpSpPr>
        <p:sp>
          <p:nvSpPr>
            <p:cNvPr id="3" name="TextBox 2">
              <a:extLst>
                <a:ext uri="{FF2B5EF4-FFF2-40B4-BE49-F238E27FC236}">
                  <a16:creationId xmlns:a16="http://schemas.microsoft.com/office/drawing/2014/main" id="{267762A3-D2CD-5996-518B-E1BE0CFBFA22}"/>
                </a:ext>
              </a:extLst>
            </p:cNvPr>
            <p:cNvSpPr txBox="1"/>
            <p:nvPr/>
          </p:nvSpPr>
          <p:spPr>
            <a:xfrm>
              <a:off x="3408544" y="2319382"/>
              <a:ext cx="8420890" cy="492443"/>
            </a:xfrm>
            <a:prstGeom prst="rect">
              <a:avLst/>
            </a:prstGeom>
            <a:noFill/>
          </p:spPr>
          <p:txBody>
            <a:bodyPr wrap="square" lIns="0" tIns="0" rIns="0" bIns="0" rtlCol="0">
              <a:spAutoFit/>
            </a:bodyPr>
            <a:lstStyle/>
            <a:p>
              <a:pPr lvl="0">
                <a:defRPr/>
              </a:pPr>
              <a:r>
                <a:rPr lang="en-US" sz="3200" b="1" dirty="0" err="1">
                  <a:solidFill>
                    <a:schemeClr val="bg1"/>
                  </a:solidFill>
                  <a:latin typeface="Tw Cen MT" panose="020B0602020104020603" pitchFamily="34" charset="0"/>
                  <a:ea typeface="Segoe UI Black" panose="020B0A02040204020203" pitchFamily="34" charset="0"/>
                  <a:cs typeface="Segoe UI" panose="020B0502040204020203" pitchFamily="34" charset="0"/>
                </a:rPr>
                <a:t>Perkenalan</a:t>
              </a:r>
              <a:r>
                <a:rPr lang="en-US" sz="3200" b="1" dirty="0">
                  <a:solidFill>
                    <a:schemeClr val="bg1"/>
                  </a:solidFill>
                  <a:latin typeface="Tw Cen MT" panose="020B0602020104020603" pitchFamily="34" charset="0"/>
                  <a:ea typeface="Segoe UI Black" panose="020B0A02040204020203" pitchFamily="34" charset="0"/>
                  <a:cs typeface="Segoe UI" panose="020B0502040204020203" pitchFamily="34" charset="0"/>
                </a:rPr>
                <a:t> Data Analytic</a:t>
              </a:r>
            </a:p>
          </p:txBody>
        </p:sp>
        <p:sp>
          <p:nvSpPr>
            <p:cNvPr id="5" name="Freeform: Shape 33">
              <a:extLst>
                <a:ext uri="{FF2B5EF4-FFF2-40B4-BE49-F238E27FC236}">
                  <a16:creationId xmlns:a16="http://schemas.microsoft.com/office/drawing/2014/main" id="{844AB031-8098-DFF2-2590-C5604549DB75}"/>
                </a:ext>
              </a:extLst>
            </p:cNvPr>
            <p:cNvSpPr/>
            <p:nvPr/>
          </p:nvSpPr>
          <p:spPr>
            <a:xfrm>
              <a:off x="2711053" y="2235874"/>
              <a:ext cx="487319" cy="575951"/>
            </a:xfrm>
            <a:custGeom>
              <a:avLst/>
              <a:gdLst>
                <a:gd name="connsiteX0" fmla="*/ 0 w 1001369"/>
                <a:gd name="connsiteY0" fmla="*/ 0 h 403267"/>
                <a:gd name="connsiteX1" fmla="*/ 100680 w 1001369"/>
                <a:gd name="connsiteY1" fmla="*/ 0 h 403267"/>
                <a:gd name="connsiteX2" fmla="*/ 656858 w 1001369"/>
                <a:gd name="connsiteY2" fmla="*/ 0 h 403267"/>
                <a:gd name="connsiteX3" fmla="*/ 1001369 w 1001369"/>
                <a:gd name="connsiteY3" fmla="*/ 0 h 403267"/>
                <a:gd name="connsiteX4" fmla="*/ 900690 w 1001369"/>
                <a:gd name="connsiteY4" fmla="*/ 402718 h 403267"/>
                <a:gd name="connsiteX5" fmla="*/ 656858 w 1001369"/>
                <a:gd name="connsiteY5" fmla="*/ 402718 h 403267"/>
                <a:gd name="connsiteX6" fmla="*/ 656858 w 1001369"/>
                <a:gd name="connsiteY6" fmla="*/ 403267 h 403267"/>
                <a:gd name="connsiteX7" fmla="*/ 0 w 1001369"/>
                <a:gd name="connsiteY7" fmla="*/ 403267 h 403267"/>
                <a:gd name="connsiteX8" fmla="*/ 0 w 1001369"/>
                <a:gd name="connsiteY8" fmla="*/ 402718 h 40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369" h="403267">
                  <a:moveTo>
                    <a:pt x="0" y="0"/>
                  </a:moveTo>
                  <a:lnTo>
                    <a:pt x="100680" y="0"/>
                  </a:lnTo>
                  <a:lnTo>
                    <a:pt x="656858" y="0"/>
                  </a:lnTo>
                  <a:lnTo>
                    <a:pt x="1001369" y="0"/>
                  </a:lnTo>
                  <a:lnTo>
                    <a:pt x="900690" y="402718"/>
                  </a:lnTo>
                  <a:lnTo>
                    <a:pt x="656858" y="402718"/>
                  </a:lnTo>
                  <a:lnTo>
                    <a:pt x="656858" y="403267"/>
                  </a:lnTo>
                  <a:lnTo>
                    <a:pt x="0" y="403267"/>
                  </a:lnTo>
                  <a:lnTo>
                    <a:pt x="0" y="402718"/>
                  </a:lnTo>
                  <a:close/>
                </a:path>
              </a:pathLst>
            </a:custGeom>
            <a:solidFill>
              <a:srgbClr val="457B9D"/>
            </a:solidFill>
            <a:ln w="12700" cap="flat" cmpd="sng" algn="ctr">
              <a:noFill/>
              <a:prstDash val="solid"/>
              <a:miter lim="800000"/>
            </a:ln>
            <a:effectLst>
              <a:outerShdw blurRad="254000" algn="ctr" rotWithShape="0">
                <a:srgbClr val="1D3557">
                  <a:alpha val="30000"/>
                </a:srgbClr>
              </a:outerShdw>
            </a:effectLst>
          </p:spPr>
          <p:txBody>
            <a:bodyPr rot="0" spcFirstLastPara="0" vertOverflow="overflow" horzOverflow="overflow" vert="horz" wrap="square" lIns="144000" tIns="72000" rIns="108000" bIns="72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ECF0F4"/>
                  </a:solidFill>
                  <a:effectLst/>
                  <a:uLnTx/>
                  <a:uFillTx/>
                  <a:latin typeface="Tw Cen MT" panose="020B0602020104020603" pitchFamily="34" charset="0"/>
                  <a:ea typeface="+mn-ea"/>
                  <a:cs typeface="Segoe UI" panose="020B0502040204020203" pitchFamily="34" charset="0"/>
                </a:rPr>
                <a:t>1</a:t>
              </a:r>
            </a:p>
          </p:txBody>
        </p:sp>
      </p:grpSp>
    </p:spTree>
    <p:extLst>
      <p:ext uri="{BB962C8B-B14F-4D97-AF65-F5344CB8AC3E}">
        <p14:creationId xmlns:p14="http://schemas.microsoft.com/office/powerpoint/2010/main" val="38628937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1804" y="210221"/>
            <a:ext cx="9100654" cy="898576"/>
          </a:xfrm>
        </p:spPr>
        <p:txBody>
          <a:bodyPr/>
          <a:lstStyle/>
          <a:p>
            <a:r>
              <a:rPr lang="en-US"/>
              <a:t>Pemahaman Probis dan </a:t>
            </a:r>
            <a:r>
              <a:rPr lang="en-US" i="1"/>
              <a:t>Walkthrough</a:t>
            </a:r>
            <a:endParaRPr lang="en-ID" i="1"/>
          </a:p>
        </p:txBody>
      </p:sp>
      <p:graphicFrame>
        <p:nvGraphicFramePr>
          <p:cNvPr id="4" name="Content Placeholder 6"/>
          <p:cNvGraphicFramePr>
            <a:graphicFrameLocks/>
          </p:cNvGraphicFramePr>
          <p:nvPr/>
        </p:nvGraphicFramePr>
        <p:xfrm>
          <a:off x="634999" y="1719503"/>
          <a:ext cx="10753437" cy="44152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451766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40AF9-16E0-A006-06E9-A17D1DF92A56}"/>
              </a:ext>
            </a:extLst>
          </p:cNvPr>
          <p:cNvSpPr>
            <a:spLocks noGrp="1"/>
          </p:cNvSpPr>
          <p:nvPr>
            <p:ph type="title"/>
          </p:nvPr>
        </p:nvSpPr>
        <p:spPr>
          <a:xfrm>
            <a:off x="428887" y="272288"/>
            <a:ext cx="11334224" cy="553998"/>
          </a:xfrm>
        </p:spPr>
        <p:txBody>
          <a:bodyPr/>
          <a:lstStyle/>
          <a:p>
            <a:r>
              <a:rPr lang="en-AU" dirty="0" err="1"/>
              <a:t>Contoh</a:t>
            </a:r>
            <a:r>
              <a:rPr lang="en-AU" dirty="0"/>
              <a:t> Hasil </a:t>
            </a:r>
            <a:r>
              <a:rPr lang="en-AU" dirty="0" err="1"/>
              <a:t>Identifikasi</a:t>
            </a:r>
            <a:r>
              <a:rPr lang="en-AU" dirty="0"/>
              <a:t> </a:t>
            </a:r>
            <a:r>
              <a:rPr lang="en-AU" dirty="0" err="1"/>
              <a:t>Risiko</a:t>
            </a:r>
            <a:r>
              <a:rPr lang="en-AU" dirty="0"/>
              <a:t> dan </a:t>
            </a:r>
            <a:r>
              <a:rPr lang="en-AU" dirty="0" err="1"/>
              <a:t>Pengendalian</a:t>
            </a:r>
            <a:endParaRPr lang="en-AU" dirty="0"/>
          </a:p>
        </p:txBody>
      </p:sp>
      <p:pic>
        <p:nvPicPr>
          <p:cNvPr id="4" name="Picture 3">
            <a:extLst>
              <a:ext uri="{FF2B5EF4-FFF2-40B4-BE49-F238E27FC236}">
                <a16:creationId xmlns:a16="http://schemas.microsoft.com/office/drawing/2014/main" id="{981BE725-DD02-F104-C7D0-F1213A0C4792}"/>
              </a:ext>
            </a:extLst>
          </p:cNvPr>
          <p:cNvPicPr>
            <a:picLocks noChangeAspect="1"/>
          </p:cNvPicPr>
          <p:nvPr/>
        </p:nvPicPr>
        <p:blipFill rotWithShape="1">
          <a:blip r:embed="rId2">
            <a:extLst>
              <a:ext uri="{28A0092B-C50C-407E-A947-70E740481C1C}">
                <a14:useLocalDpi xmlns:a14="http://schemas.microsoft.com/office/drawing/2010/main" val="0"/>
              </a:ext>
            </a:extLst>
          </a:blip>
          <a:srcRect t="-670"/>
          <a:stretch/>
        </p:blipFill>
        <p:spPr>
          <a:xfrm>
            <a:off x="592062" y="1204332"/>
            <a:ext cx="11007873" cy="50228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7213354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E4F11-B8DA-4CFA-A10C-F0CFD724BBB8}"/>
              </a:ext>
            </a:extLst>
          </p:cNvPr>
          <p:cNvSpPr>
            <a:spLocks noGrp="1"/>
          </p:cNvSpPr>
          <p:nvPr>
            <p:ph type="title"/>
          </p:nvPr>
        </p:nvSpPr>
        <p:spPr>
          <a:xfrm>
            <a:off x="428887" y="272288"/>
            <a:ext cx="11334224" cy="553998"/>
          </a:xfrm>
        </p:spPr>
        <p:txBody>
          <a:bodyPr/>
          <a:lstStyle/>
          <a:p>
            <a:r>
              <a:rPr lang="en-AU" dirty="0" err="1"/>
              <a:t>Penentuan</a:t>
            </a:r>
            <a:r>
              <a:rPr lang="en-AU" dirty="0"/>
              <a:t> </a:t>
            </a:r>
            <a:r>
              <a:rPr lang="en-AU" dirty="0" err="1"/>
              <a:t>Jenis</a:t>
            </a:r>
            <a:r>
              <a:rPr lang="en-AU" dirty="0"/>
              <a:t> </a:t>
            </a:r>
            <a:r>
              <a:rPr lang="en-AU" dirty="0" err="1"/>
              <a:t>Pengendalian</a:t>
            </a:r>
            <a:r>
              <a:rPr lang="en-AU" dirty="0"/>
              <a:t> </a:t>
            </a:r>
            <a:r>
              <a:rPr lang="en-AU" dirty="0" err="1"/>
              <a:t>terkait</a:t>
            </a:r>
            <a:r>
              <a:rPr lang="en-AU" dirty="0"/>
              <a:t> </a:t>
            </a:r>
            <a:r>
              <a:rPr lang="en-AU" dirty="0" err="1"/>
              <a:t>Aplikasi</a:t>
            </a:r>
            <a:endParaRPr lang="en-AU" dirty="0"/>
          </a:p>
        </p:txBody>
      </p:sp>
      <p:cxnSp>
        <p:nvCxnSpPr>
          <p:cNvPr id="21" name="Straight Connector 20">
            <a:extLst>
              <a:ext uri="{FF2B5EF4-FFF2-40B4-BE49-F238E27FC236}">
                <a16:creationId xmlns:a16="http://schemas.microsoft.com/office/drawing/2014/main" id="{F733BE02-F26E-4BBC-8603-C1A3970DDF61}"/>
              </a:ext>
            </a:extLst>
          </p:cNvPr>
          <p:cNvCxnSpPr>
            <a:stCxn id="4" idx="2"/>
          </p:cNvCxnSpPr>
          <p:nvPr/>
        </p:nvCxnSpPr>
        <p:spPr>
          <a:xfrm rot="16200000" flipH="1">
            <a:off x="4554433" y="5455225"/>
            <a:ext cx="2143141" cy="35721"/>
          </a:xfrm>
          <a:prstGeom prst="line">
            <a:avLst/>
          </a:prstGeom>
          <a:ln w="38100">
            <a:solidFill>
              <a:srgbClr val="0070C0"/>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DBBB9F7-D6C2-7498-BF2E-7F5B356B6498}"/>
              </a:ext>
            </a:extLst>
          </p:cNvPr>
          <p:cNvGrpSpPr/>
          <p:nvPr/>
        </p:nvGrpSpPr>
        <p:grpSpPr>
          <a:xfrm>
            <a:off x="428887" y="826286"/>
            <a:ext cx="11226967" cy="5442132"/>
            <a:chOff x="1019156" y="1117859"/>
            <a:chExt cx="11226967" cy="5442132"/>
          </a:xfrm>
        </p:grpSpPr>
        <p:pic>
          <p:nvPicPr>
            <p:cNvPr id="4" name="Picture 3" descr="AppCon vs GenCon.JPG">
              <a:extLst>
                <a:ext uri="{FF2B5EF4-FFF2-40B4-BE49-F238E27FC236}">
                  <a16:creationId xmlns:a16="http://schemas.microsoft.com/office/drawing/2014/main" id="{060873D9-ECC4-4EBD-8BF3-1B9D02EE17E9}"/>
                </a:ext>
              </a:extLst>
            </p:cNvPr>
            <p:cNvPicPr/>
            <p:nvPr/>
          </p:nvPicPr>
          <p:blipFill>
            <a:blip r:embed="rId2" cstate="print"/>
            <a:stretch>
              <a:fillRect/>
            </a:stretch>
          </p:blipFill>
          <p:spPr>
            <a:xfrm>
              <a:off x="3733800" y="1978444"/>
              <a:ext cx="4929222" cy="2714644"/>
            </a:xfrm>
            <a:prstGeom prst="rect">
              <a:avLst/>
            </a:prstGeom>
          </p:spPr>
        </p:pic>
        <p:sp>
          <p:nvSpPr>
            <p:cNvPr id="5" name="Rounded Rectangle 27">
              <a:extLst>
                <a:ext uri="{FF2B5EF4-FFF2-40B4-BE49-F238E27FC236}">
                  <a16:creationId xmlns:a16="http://schemas.microsoft.com/office/drawing/2014/main" id="{3B5830DB-D22F-4EB4-AC69-5FD70C830BF7}"/>
                </a:ext>
              </a:extLst>
            </p:cNvPr>
            <p:cNvSpPr/>
            <p:nvPr/>
          </p:nvSpPr>
          <p:spPr>
            <a:xfrm>
              <a:off x="3448048" y="48073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400" i="1" dirty="0">
                  <a:solidFill>
                    <a:schemeClr val="tx1"/>
                  </a:solidFill>
                  <a:latin typeface="Agency FB" pitchFamily="34" charset="0"/>
                </a:rPr>
                <a:t>Level </a:t>
              </a:r>
              <a:r>
                <a:rPr lang="id-ID" sz="2400" dirty="0">
                  <a:solidFill>
                    <a:schemeClr val="tx1"/>
                  </a:solidFill>
                  <a:latin typeface="Agency FB" pitchFamily="34" charset="0"/>
                </a:rPr>
                <a:t>entitas</a:t>
              </a:r>
              <a:endParaRPr lang="en-ID" sz="2400" i="1" dirty="0">
                <a:solidFill>
                  <a:schemeClr val="tx1"/>
                </a:solidFill>
                <a:latin typeface="Agency FB" pitchFamily="34" charset="0"/>
              </a:endParaRPr>
            </a:p>
          </p:txBody>
        </p:sp>
        <p:sp>
          <p:nvSpPr>
            <p:cNvPr id="6" name="Rounded Rectangle 28">
              <a:extLst>
                <a:ext uri="{FF2B5EF4-FFF2-40B4-BE49-F238E27FC236}">
                  <a16:creationId xmlns:a16="http://schemas.microsoft.com/office/drawing/2014/main" id="{949FBD14-2339-49F9-B4EB-DCA45727799F}"/>
                </a:ext>
              </a:extLst>
            </p:cNvPr>
            <p:cNvSpPr/>
            <p:nvPr/>
          </p:nvSpPr>
          <p:spPr>
            <a:xfrm>
              <a:off x="3448048" y="52645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000" dirty="0">
                  <a:solidFill>
                    <a:schemeClr val="tx1"/>
                  </a:solidFill>
                  <a:latin typeface="Agency FB" pitchFamily="34" charset="0"/>
                </a:rPr>
                <a:t>Mengacu </a:t>
              </a:r>
              <a:r>
                <a:rPr lang="id-ID" sz="2000" i="1" dirty="0">
                  <a:solidFill>
                    <a:schemeClr val="tx1"/>
                  </a:solidFill>
                  <a:latin typeface="Agency FB" pitchFamily="34" charset="0"/>
                </a:rPr>
                <a:t>leading practice</a:t>
              </a:r>
              <a:endParaRPr lang="en-ID" sz="2000" dirty="0">
                <a:solidFill>
                  <a:schemeClr val="tx1"/>
                </a:solidFill>
                <a:latin typeface="Agency FB" pitchFamily="34" charset="0"/>
              </a:endParaRPr>
            </a:p>
          </p:txBody>
        </p:sp>
        <p:sp>
          <p:nvSpPr>
            <p:cNvPr id="7" name="Rounded Rectangle 29">
              <a:extLst>
                <a:ext uri="{FF2B5EF4-FFF2-40B4-BE49-F238E27FC236}">
                  <a16:creationId xmlns:a16="http://schemas.microsoft.com/office/drawing/2014/main" id="{60F96F93-464B-4AEF-A38C-71F3A8D801A5}"/>
                </a:ext>
              </a:extLst>
            </p:cNvPr>
            <p:cNvSpPr/>
            <p:nvPr/>
          </p:nvSpPr>
          <p:spPr>
            <a:xfrm>
              <a:off x="3448048" y="57217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000" dirty="0">
                  <a:solidFill>
                    <a:schemeClr val="tx1"/>
                  </a:solidFill>
                  <a:latin typeface="Agency FB" pitchFamily="34" charset="0"/>
                </a:rPr>
                <a:t>Pengaruh tidak langsung</a:t>
              </a:r>
              <a:endParaRPr lang="en-ID" sz="2000" dirty="0">
                <a:solidFill>
                  <a:schemeClr val="tx1"/>
                </a:solidFill>
                <a:latin typeface="Agency FB" pitchFamily="34" charset="0"/>
              </a:endParaRPr>
            </a:p>
          </p:txBody>
        </p:sp>
        <p:sp>
          <p:nvSpPr>
            <p:cNvPr id="8" name="Rounded Rectangle 30">
              <a:extLst>
                <a:ext uri="{FF2B5EF4-FFF2-40B4-BE49-F238E27FC236}">
                  <a16:creationId xmlns:a16="http://schemas.microsoft.com/office/drawing/2014/main" id="{D33267A9-A8BC-482C-BDDD-E7617DC93067}"/>
                </a:ext>
              </a:extLst>
            </p:cNvPr>
            <p:cNvSpPr/>
            <p:nvPr/>
          </p:nvSpPr>
          <p:spPr>
            <a:xfrm>
              <a:off x="3448048" y="61789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400" dirty="0">
                  <a:solidFill>
                    <a:schemeClr val="tx1"/>
                  </a:solidFill>
                  <a:latin typeface="Agency FB" pitchFamily="34" charset="0"/>
                </a:rPr>
                <a:t>Fokus: Pengelola TIK</a:t>
              </a:r>
              <a:endParaRPr lang="en-ID" sz="2400" dirty="0">
                <a:solidFill>
                  <a:schemeClr val="tx1"/>
                </a:solidFill>
                <a:latin typeface="Agency FB" pitchFamily="34" charset="0"/>
              </a:endParaRPr>
            </a:p>
          </p:txBody>
        </p:sp>
        <p:sp>
          <p:nvSpPr>
            <p:cNvPr id="9" name="Rounded Rectangle 41">
              <a:extLst>
                <a:ext uri="{FF2B5EF4-FFF2-40B4-BE49-F238E27FC236}">
                  <a16:creationId xmlns:a16="http://schemas.microsoft.com/office/drawing/2014/main" id="{9A868664-AC25-40F1-B38B-E69E197C8FDC}"/>
                </a:ext>
              </a:extLst>
            </p:cNvPr>
            <p:cNvSpPr/>
            <p:nvPr/>
          </p:nvSpPr>
          <p:spPr>
            <a:xfrm>
              <a:off x="6519882" y="48073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400" i="1" dirty="0">
                  <a:solidFill>
                    <a:schemeClr val="tx1"/>
                  </a:solidFill>
                  <a:latin typeface="Agency FB" pitchFamily="34" charset="0"/>
                </a:rPr>
                <a:t>Level  </a:t>
              </a:r>
              <a:r>
                <a:rPr lang="id-ID" sz="2400" dirty="0">
                  <a:solidFill>
                    <a:schemeClr val="tx1"/>
                  </a:solidFill>
                  <a:latin typeface="Agency FB" pitchFamily="34" charset="0"/>
                </a:rPr>
                <a:t>transaksi</a:t>
              </a:r>
              <a:endParaRPr lang="en-ID" sz="2400" i="1" dirty="0">
                <a:solidFill>
                  <a:schemeClr val="tx1"/>
                </a:solidFill>
                <a:latin typeface="Agency FB" pitchFamily="34" charset="0"/>
              </a:endParaRPr>
            </a:p>
          </p:txBody>
        </p:sp>
        <p:sp>
          <p:nvSpPr>
            <p:cNvPr id="10" name="Rounded Rectangle 42">
              <a:extLst>
                <a:ext uri="{FF2B5EF4-FFF2-40B4-BE49-F238E27FC236}">
                  <a16:creationId xmlns:a16="http://schemas.microsoft.com/office/drawing/2014/main" id="{E97800BA-ACF2-4BE2-9413-6F3A759933BD}"/>
                </a:ext>
              </a:extLst>
            </p:cNvPr>
            <p:cNvSpPr/>
            <p:nvPr/>
          </p:nvSpPr>
          <p:spPr>
            <a:xfrm>
              <a:off x="6519882" y="52645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000" dirty="0">
                  <a:solidFill>
                    <a:schemeClr val="tx1"/>
                  </a:solidFill>
                  <a:latin typeface="Agency FB" pitchFamily="34" charset="0"/>
                </a:rPr>
                <a:t>Spesifik, sesuai alur proses</a:t>
              </a:r>
              <a:endParaRPr lang="en-ID" sz="2000" dirty="0">
                <a:solidFill>
                  <a:schemeClr val="tx1"/>
                </a:solidFill>
                <a:latin typeface="Agency FB" pitchFamily="34" charset="0"/>
              </a:endParaRPr>
            </a:p>
          </p:txBody>
        </p:sp>
        <p:sp>
          <p:nvSpPr>
            <p:cNvPr id="11" name="Rounded Rectangle 43">
              <a:extLst>
                <a:ext uri="{FF2B5EF4-FFF2-40B4-BE49-F238E27FC236}">
                  <a16:creationId xmlns:a16="http://schemas.microsoft.com/office/drawing/2014/main" id="{18810173-C1B5-43E1-9A26-FE27319E625E}"/>
                </a:ext>
              </a:extLst>
            </p:cNvPr>
            <p:cNvSpPr/>
            <p:nvPr/>
          </p:nvSpPr>
          <p:spPr>
            <a:xfrm>
              <a:off x="6519882" y="57217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dirty="0">
                  <a:solidFill>
                    <a:schemeClr val="tx1"/>
                  </a:solidFill>
                  <a:latin typeface="Agency FB" pitchFamily="34" charset="0"/>
                </a:rPr>
                <a:t>Pengaruh langsung thd output</a:t>
              </a:r>
              <a:endParaRPr lang="en-ID" dirty="0">
                <a:solidFill>
                  <a:schemeClr val="tx1"/>
                </a:solidFill>
                <a:latin typeface="Agency FB" pitchFamily="34" charset="0"/>
              </a:endParaRPr>
            </a:p>
          </p:txBody>
        </p:sp>
        <p:sp>
          <p:nvSpPr>
            <p:cNvPr id="12" name="Rounded Rectangle 44">
              <a:extLst>
                <a:ext uri="{FF2B5EF4-FFF2-40B4-BE49-F238E27FC236}">
                  <a16:creationId xmlns:a16="http://schemas.microsoft.com/office/drawing/2014/main" id="{5D5FE02D-B9CA-4963-9743-E1CD22689731}"/>
                </a:ext>
              </a:extLst>
            </p:cNvPr>
            <p:cNvSpPr/>
            <p:nvPr/>
          </p:nvSpPr>
          <p:spPr>
            <a:xfrm>
              <a:off x="6519882" y="6178991"/>
              <a:ext cx="2438400" cy="38100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400" dirty="0">
                  <a:solidFill>
                    <a:schemeClr val="tx1"/>
                  </a:solidFill>
                  <a:latin typeface="Agency FB" pitchFamily="34" charset="0"/>
                </a:rPr>
                <a:t>Fokus: </a:t>
              </a:r>
              <a:r>
                <a:rPr lang="id-ID" sz="2400" i="1" dirty="0">
                  <a:solidFill>
                    <a:schemeClr val="tx1"/>
                  </a:solidFill>
                  <a:latin typeface="Agency FB" pitchFamily="34" charset="0"/>
                </a:rPr>
                <a:t>User</a:t>
              </a:r>
              <a:endParaRPr lang="en-ID" sz="2400" i="1" dirty="0">
                <a:solidFill>
                  <a:schemeClr val="tx1"/>
                </a:solidFill>
                <a:latin typeface="Agency FB" pitchFamily="34" charset="0"/>
              </a:endParaRPr>
            </a:p>
          </p:txBody>
        </p:sp>
        <p:sp>
          <p:nvSpPr>
            <p:cNvPr id="13" name="Rounded Rectangle 45">
              <a:extLst>
                <a:ext uri="{FF2B5EF4-FFF2-40B4-BE49-F238E27FC236}">
                  <a16:creationId xmlns:a16="http://schemas.microsoft.com/office/drawing/2014/main" id="{B0ED0FD0-30D0-4BB5-9F54-BFE21E3AD19C}"/>
                </a:ext>
              </a:extLst>
            </p:cNvPr>
            <p:cNvSpPr/>
            <p:nvPr/>
          </p:nvSpPr>
          <p:spPr>
            <a:xfrm>
              <a:off x="1019156" y="2549947"/>
              <a:ext cx="2214578" cy="35719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400" i="1" dirty="0">
                  <a:solidFill>
                    <a:schemeClr val="tx1"/>
                  </a:solidFill>
                  <a:latin typeface="Agency FB" pitchFamily="34" charset="0"/>
                </a:rPr>
                <a:t>ITRM</a:t>
              </a:r>
              <a:endParaRPr lang="en-ID" sz="2400" i="1" dirty="0">
                <a:solidFill>
                  <a:schemeClr val="tx1"/>
                </a:solidFill>
                <a:latin typeface="Agency FB" pitchFamily="34" charset="0"/>
              </a:endParaRPr>
            </a:p>
          </p:txBody>
        </p:sp>
        <p:sp>
          <p:nvSpPr>
            <p:cNvPr id="14" name="Rounded Rectangle 46">
              <a:extLst>
                <a:ext uri="{FF2B5EF4-FFF2-40B4-BE49-F238E27FC236}">
                  <a16:creationId xmlns:a16="http://schemas.microsoft.com/office/drawing/2014/main" id="{CA1A87DC-5AEF-4254-9574-B9BBEE128C70}"/>
                </a:ext>
              </a:extLst>
            </p:cNvPr>
            <p:cNvSpPr/>
            <p:nvPr/>
          </p:nvSpPr>
          <p:spPr>
            <a:xfrm>
              <a:off x="1019156" y="3007147"/>
              <a:ext cx="2214578" cy="328618"/>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000" i="1" dirty="0">
                  <a:solidFill>
                    <a:schemeClr val="tx1"/>
                  </a:solidFill>
                  <a:latin typeface="Agency FB" pitchFamily="34" charset="0"/>
                </a:rPr>
                <a:t>Change management</a:t>
              </a:r>
              <a:endParaRPr lang="en-ID" sz="2000" i="1" dirty="0">
                <a:solidFill>
                  <a:schemeClr val="tx1"/>
                </a:solidFill>
                <a:latin typeface="Agency FB" pitchFamily="34" charset="0"/>
              </a:endParaRPr>
            </a:p>
          </p:txBody>
        </p:sp>
        <p:sp>
          <p:nvSpPr>
            <p:cNvPr id="15" name="Rounded Rectangle 47">
              <a:extLst>
                <a:ext uri="{FF2B5EF4-FFF2-40B4-BE49-F238E27FC236}">
                  <a16:creationId xmlns:a16="http://schemas.microsoft.com/office/drawing/2014/main" id="{CB1BD670-7652-4725-BFD0-1CA679F7ED4F}"/>
                </a:ext>
              </a:extLst>
            </p:cNvPr>
            <p:cNvSpPr/>
            <p:nvPr/>
          </p:nvSpPr>
          <p:spPr>
            <a:xfrm>
              <a:off x="1019156" y="3464347"/>
              <a:ext cx="2214578" cy="371484"/>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00" i="1" dirty="0">
                  <a:solidFill>
                    <a:schemeClr val="tx1"/>
                  </a:solidFill>
                  <a:latin typeface="Agency FB" pitchFamily="34" charset="0"/>
                </a:rPr>
                <a:t>SDLC</a:t>
              </a:r>
              <a:endParaRPr lang="en-ID" sz="2000" i="1" dirty="0">
                <a:solidFill>
                  <a:schemeClr val="tx1"/>
                </a:solidFill>
                <a:latin typeface="Agency FB" pitchFamily="34" charset="0"/>
              </a:endParaRPr>
            </a:p>
          </p:txBody>
        </p:sp>
        <p:sp>
          <p:nvSpPr>
            <p:cNvPr id="16" name="Rounded Rectangle 48">
              <a:extLst>
                <a:ext uri="{FF2B5EF4-FFF2-40B4-BE49-F238E27FC236}">
                  <a16:creationId xmlns:a16="http://schemas.microsoft.com/office/drawing/2014/main" id="{023AAA40-5D1F-4F53-8BA7-7B1D0D41D6E6}"/>
                </a:ext>
              </a:extLst>
            </p:cNvPr>
            <p:cNvSpPr/>
            <p:nvPr/>
          </p:nvSpPr>
          <p:spPr>
            <a:xfrm>
              <a:off x="1019156" y="3921547"/>
              <a:ext cx="2214578" cy="41435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id-ID" sz="2000" i="1" dirty="0">
                  <a:solidFill>
                    <a:schemeClr val="tx1"/>
                  </a:solidFill>
                  <a:latin typeface="Agency FB" pitchFamily="34" charset="0"/>
                </a:rPr>
                <a:t>Operational &amp; Continuity</a:t>
              </a:r>
              <a:endParaRPr lang="en-ID" sz="2000" i="1" dirty="0">
                <a:solidFill>
                  <a:schemeClr val="tx1"/>
                </a:solidFill>
                <a:latin typeface="Agency FB" pitchFamily="34" charset="0"/>
              </a:endParaRPr>
            </a:p>
          </p:txBody>
        </p:sp>
        <p:cxnSp>
          <p:nvCxnSpPr>
            <p:cNvPr id="17" name="Straight Connector 16">
              <a:extLst>
                <a:ext uri="{FF2B5EF4-FFF2-40B4-BE49-F238E27FC236}">
                  <a16:creationId xmlns:a16="http://schemas.microsoft.com/office/drawing/2014/main" id="{5BF0A0EB-B987-4FFE-AF32-A665F8512199}"/>
                </a:ext>
              </a:extLst>
            </p:cNvPr>
            <p:cNvCxnSpPr>
              <a:endCxn id="13" idx="3"/>
            </p:cNvCxnSpPr>
            <p:nvPr/>
          </p:nvCxnSpPr>
          <p:spPr>
            <a:xfrm rot="16200000" flipV="1">
              <a:off x="3144438" y="2817840"/>
              <a:ext cx="750099" cy="571504"/>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1715D82-9DC6-4BFE-9FAD-6AA75EB972BA}"/>
                </a:ext>
              </a:extLst>
            </p:cNvPr>
            <p:cNvCxnSpPr>
              <a:endCxn id="14" idx="3"/>
            </p:cNvCxnSpPr>
            <p:nvPr/>
          </p:nvCxnSpPr>
          <p:spPr>
            <a:xfrm rot="10800000">
              <a:off x="3233734" y="3171458"/>
              <a:ext cx="642942" cy="378623"/>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6BB534A-E118-4FA0-8D08-C4BECFBC7E69}"/>
                </a:ext>
              </a:extLst>
            </p:cNvPr>
            <p:cNvCxnSpPr>
              <a:endCxn id="15" idx="3"/>
            </p:cNvCxnSpPr>
            <p:nvPr/>
          </p:nvCxnSpPr>
          <p:spPr>
            <a:xfrm rot="10800000" flipV="1">
              <a:off x="3233734" y="3550079"/>
              <a:ext cx="642942" cy="10001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A92F570-CCE4-461C-A8C3-1192B030F597}"/>
                </a:ext>
              </a:extLst>
            </p:cNvPr>
            <p:cNvCxnSpPr>
              <a:endCxn id="16" idx="3"/>
            </p:cNvCxnSpPr>
            <p:nvPr/>
          </p:nvCxnSpPr>
          <p:spPr>
            <a:xfrm rot="10800000" flipV="1">
              <a:off x="3233734" y="3550081"/>
              <a:ext cx="642942" cy="57864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22" name="Rounded Rectangle 31">
              <a:extLst>
                <a:ext uri="{FF2B5EF4-FFF2-40B4-BE49-F238E27FC236}">
                  <a16:creationId xmlns:a16="http://schemas.microsoft.com/office/drawing/2014/main" id="{3037F121-83B8-4D3E-A04B-A7CCAE139B4D}"/>
                </a:ext>
              </a:extLst>
            </p:cNvPr>
            <p:cNvSpPr/>
            <p:nvPr/>
          </p:nvSpPr>
          <p:spPr>
            <a:xfrm>
              <a:off x="8913024" y="2824869"/>
              <a:ext cx="927777" cy="36004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i="1" dirty="0">
                  <a:solidFill>
                    <a:schemeClr val="tx1"/>
                  </a:solidFill>
                  <a:latin typeface="Agency FB" pitchFamily="34" charset="0"/>
                </a:rPr>
                <a:t>input</a:t>
              </a:r>
              <a:endParaRPr lang="en-ID" sz="2400" i="1" dirty="0">
                <a:solidFill>
                  <a:schemeClr val="tx1"/>
                </a:solidFill>
                <a:latin typeface="Agency FB" pitchFamily="34" charset="0"/>
              </a:endParaRPr>
            </a:p>
          </p:txBody>
        </p:sp>
        <p:sp>
          <p:nvSpPr>
            <p:cNvPr id="23" name="Rounded Rectangle 32">
              <a:extLst>
                <a:ext uri="{FF2B5EF4-FFF2-40B4-BE49-F238E27FC236}">
                  <a16:creationId xmlns:a16="http://schemas.microsoft.com/office/drawing/2014/main" id="{2904C5E5-417E-49B6-B684-DDB4A8127AAA}"/>
                </a:ext>
              </a:extLst>
            </p:cNvPr>
            <p:cNvSpPr/>
            <p:nvPr/>
          </p:nvSpPr>
          <p:spPr>
            <a:xfrm>
              <a:off x="8904696" y="3400933"/>
              <a:ext cx="936104" cy="36004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dirty="0" err="1">
                  <a:solidFill>
                    <a:schemeClr val="tx1"/>
                  </a:solidFill>
                  <a:latin typeface="Agency FB" pitchFamily="34" charset="0"/>
                </a:rPr>
                <a:t>proses</a:t>
              </a:r>
              <a:endParaRPr lang="en-ID" sz="2400" dirty="0">
                <a:solidFill>
                  <a:schemeClr val="tx1"/>
                </a:solidFill>
                <a:latin typeface="Agency FB" pitchFamily="34" charset="0"/>
              </a:endParaRPr>
            </a:p>
          </p:txBody>
        </p:sp>
        <p:sp>
          <p:nvSpPr>
            <p:cNvPr id="24" name="Rounded Rectangle 33">
              <a:extLst>
                <a:ext uri="{FF2B5EF4-FFF2-40B4-BE49-F238E27FC236}">
                  <a16:creationId xmlns:a16="http://schemas.microsoft.com/office/drawing/2014/main" id="{A774908A-B643-4FF4-8B69-67ADDEB0131B}"/>
                </a:ext>
              </a:extLst>
            </p:cNvPr>
            <p:cNvSpPr/>
            <p:nvPr/>
          </p:nvSpPr>
          <p:spPr>
            <a:xfrm>
              <a:off x="8904696" y="3976997"/>
              <a:ext cx="936104" cy="360040"/>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400" i="1" dirty="0">
                  <a:solidFill>
                    <a:schemeClr val="tx1"/>
                  </a:solidFill>
                  <a:latin typeface="Agency FB" pitchFamily="34" charset="0"/>
                </a:rPr>
                <a:t>output</a:t>
              </a:r>
              <a:endParaRPr lang="en-ID" sz="2400" i="1" dirty="0">
                <a:solidFill>
                  <a:schemeClr val="tx1"/>
                </a:solidFill>
                <a:latin typeface="Agency FB" pitchFamily="34" charset="0"/>
              </a:endParaRPr>
            </a:p>
          </p:txBody>
        </p:sp>
        <p:cxnSp>
          <p:nvCxnSpPr>
            <p:cNvPr id="25" name="Straight Connector 24">
              <a:extLst>
                <a:ext uri="{FF2B5EF4-FFF2-40B4-BE49-F238E27FC236}">
                  <a16:creationId xmlns:a16="http://schemas.microsoft.com/office/drawing/2014/main" id="{734BF8AF-857D-4183-A1E3-4E9C6659D930}"/>
                </a:ext>
              </a:extLst>
            </p:cNvPr>
            <p:cNvCxnSpPr>
              <a:stCxn id="23" idx="1"/>
            </p:cNvCxnSpPr>
            <p:nvPr/>
          </p:nvCxnSpPr>
          <p:spPr>
            <a:xfrm flipH="1" flipV="1">
              <a:off x="8472650" y="3544951"/>
              <a:ext cx="432047" cy="36003"/>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5DA6FB1-0CB7-4A2E-A24F-231BF80123A9}"/>
                </a:ext>
              </a:extLst>
            </p:cNvPr>
            <p:cNvCxnSpPr>
              <a:stCxn id="22" idx="1"/>
            </p:cNvCxnSpPr>
            <p:nvPr/>
          </p:nvCxnSpPr>
          <p:spPr>
            <a:xfrm flipH="1">
              <a:off x="8472649" y="3004890"/>
              <a:ext cx="440374" cy="54006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E87554C-B8FD-453A-88E4-A7C2EEF98F0A}"/>
                </a:ext>
              </a:extLst>
            </p:cNvPr>
            <p:cNvCxnSpPr>
              <a:stCxn id="24" idx="1"/>
            </p:cNvCxnSpPr>
            <p:nvPr/>
          </p:nvCxnSpPr>
          <p:spPr>
            <a:xfrm flipH="1" flipV="1">
              <a:off x="8472648" y="3544949"/>
              <a:ext cx="432048" cy="612068"/>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28" name="Titre 3">
              <a:extLst>
                <a:ext uri="{FF2B5EF4-FFF2-40B4-BE49-F238E27FC236}">
                  <a16:creationId xmlns:a16="http://schemas.microsoft.com/office/drawing/2014/main" id="{7D653C98-425B-4E6E-8D36-CBA3A0A4214B}"/>
                </a:ext>
              </a:extLst>
            </p:cNvPr>
            <p:cNvSpPr txBox="1">
              <a:spLocks/>
            </p:cNvSpPr>
            <p:nvPr/>
          </p:nvSpPr>
          <p:spPr>
            <a:xfrm>
              <a:off x="1981199" y="1117859"/>
              <a:ext cx="8229600" cy="706090"/>
            </a:xfrm>
            <a:prstGeom prst="rect">
              <a:avLst/>
            </a:prstGeom>
          </p:spPr>
          <p:txBody>
            <a:bodyPr/>
            <a:lstStyle/>
            <a:p>
              <a:pPr algn="ctr">
                <a:spcBef>
                  <a:spcPct val="0"/>
                </a:spcBef>
                <a:defRPr/>
              </a:pPr>
              <a:r>
                <a:rPr lang="id-ID" sz="4400" i="1" dirty="0">
                  <a:solidFill>
                    <a:prstClr val="black"/>
                  </a:solidFill>
                  <a:latin typeface="Agency FB" pitchFamily="34" charset="0"/>
                </a:rPr>
                <a:t>Gen</a:t>
              </a:r>
              <a:r>
                <a:rPr lang="en-AU" sz="4400" i="1" dirty="0" err="1">
                  <a:solidFill>
                    <a:prstClr val="black"/>
                  </a:solidFill>
                  <a:latin typeface="Agency FB" pitchFamily="34" charset="0"/>
                </a:rPr>
                <a:t>eral</a:t>
              </a:r>
              <a:r>
                <a:rPr lang="en-AU" sz="4400" i="1" dirty="0">
                  <a:solidFill>
                    <a:prstClr val="black"/>
                  </a:solidFill>
                  <a:latin typeface="Agency FB" pitchFamily="34" charset="0"/>
                </a:rPr>
                <a:t> </a:t>
              </a:r>
              <a:r>
                <a:rPr lang="id-ID" sz="4400" i="1" dirty="0">
                  <a:solidFill>
                    <a:prstClr val="black"/>
                  </a:solidFill>
                  <a:latin typeface="Agency FB" pitchFamily="34" charset="0"/>
                </a:rPr>
                <a:t>vs App</a:t>
              </a:r>
              <a:r>
                <a:rPr lang="en-AU" sz="4400" i="1" dirty="0" err="1">
                  <a:solidFill>
                    <a:prstClr val="black"/>
                  </a:solidFill>
                  <a:latin typeface="Agency FB" pitchFamily="34" charset="0"/>
                </a:rPr>
                <a:t>lication</a:t>
              </a:r>
              <a:r>
                <a:rPr lang="en-AU" sz="4400" i="1" dirty="0">
                  <a:solidFill>
                    <a:prstClr val="black"/>
                  </a:solidFill>
                  <a:latin typeface="Agency FB" pitchFamily="34" charset="0"/>
                </a:rPr>
                <a:t> </a:t>
              </a:r>
              <a:r>
                <a:rPr lang="id-ID" sz="4400" i="1" dirty="0">
                  <a:solidFill>
                    <a:prstClr val="black"/>
                  </a:solidFill>
                  <a:latin typeface="Agency FB" pitchFamily="34" charset="0"/>
                </a:rPr>
                <a:t>Con</a:t>
              </a:r>
              <a:r>
                <a:rPr lang="en-AU" sz="4400" i="1" dirty="0" err="1">
                  <a:solidFill>
                    <a:prstClr val="black"/>
                  </a:solidFill>
                  <a:latin typeface="Agency FB" pitchFamily="34" charset="0"/>
                </a:rPr>
                <a:t>trol</a:t>
              </a:r>
              <a:endParaRPr lang="en-US" sz="4400" i="1" dirty="0">
                <a:solidFill>
                  <a:prstClr val="black"/>
                </a:solidFill>
                <a:latin typeface="Agency FB" pitchFamily="34" charset="0"/>
              </a:endParaRPr>
            </a:p>
          </p:txBody>
        </p:sp>
        <p:graphicFrame>
          <p:nvGraphicFramePr>
            <p:cNvPr id="3" name="Diagram 2">
              <a:extLst>
                <a:ext uri="{FF2B5EF4-FFF2-40B4-BE49-F238E27FC236}">
                  <a16:creationId xmlns:a16="http://schemas.microsoft.com/office/drawing/2014/main" id="{F0963820-72D3-B72E-72C7-249A5ED3E367}"/>
                </a:ext>
              </a:extLst>
            </p:cNvPr>
            <p:cNvGraphicFramePr/>
            <p:nvPr>
              <p:extLst>
                <p:ext uri="{D42A27DB-BD31-4B8C-83A1-F6EECF244321}">
                  <p14:modId xmlns:p14="http://schemas.microsoft.com/office/powerpoint/2010/main" val="2048929852"/>
                </p:ext>
              </p:extLst>
            </p:nvPr>
          </p:nvGraphicFramePr>
          <p:xfrm>
            <a:off x="10075129" y="2549947"/>
            <a:ext cx="2170994" cy="21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9" name="Straight Connector 28">
              <a:extLst>
                <a:ext uri="{FF2B5EF4-FFF2-40B4-BE49-F238E27FC236}">
                  <a16:creationId xmlns:a16="http://schemas.microsoft.com/office/drawing/2014/main" id="{2E192A73-6B20-0230-E6F3-9CD3D5344898}"/>
                </a:ext>
              </a:extLst>
            </p:cNvPr>
            <p:cNvCxnSpPr/>
            <p:nvPr/>
          </p:nvCxnSpPr>
          <p:spPr>
            <a:xfrm>
              <a:off x="9975362" y="2549947"/>
              <a:ext cx="0" cy="2143140"/>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70597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812772" y="852735"/>
            <a:ext cx="1937005" cy="1015663"/>
          </a:xfrm>
          <a:prstGeom prst="rect">
            <a:avLst/>
          </a:prstGeom>
          <a:noFill/>
        </p:spPr>
        <p:txBody>
          <a:bodyPr wrap="none" rtlCol="0">
            <a:spAutoFit/>
          </a:bodyPr>
          <a:lstStyle/>
          <a:p>
            <a:pPr marL="228600" indent="-228600">
              <a:buAutoNum type="arabicPeriod"/>
            </a:pPr>
            <a:r>
              <a:rPr lang="en-US" sz="1200" b="1" dirty="0">
                <a:latin typeface="Tw Cen MT" panose="020B0602020104020603" pitchFamily="34" charset="0"/>
              </a:rPr>
              <a:t>Reference Table Lookup</a:t>
            </a:r>
          </a:p>
          <a:p>
            <a:pPr marL="228600" indent="-228600">
              <a:buAutoNum type="arabicPeriod"/>
            </a:pPr>
            <a:r>
              <a:rPr lang="en-US" sz="1200" b="1" dirty="0">
                <a:latin typeface="Tw Cen MT" panose="020B0602020104020603" pitchFamily="34" charset="0"/>
              </a:rPr>
              <a:t>Dropdown</a:t>
            </a:r>
          </a:p>
          <a:p>
            <a:pPr marL="228600" indent="-228600">
              <a:buAutoNum type="arabicPeriod"/>
            </a:pPr>
            <a:r>
              <a:rPr lang="en-US" sz="1200" b="1" dirty="0">
                <a:latin typeface="Tw Cen MT" panose="020B0602020104020603" pitchFamily="34" charset="0"/>
              </a:rPr>
              <a:t>Limit</a:t>
            </a:r>
          </a:p>
          <a:p>
            <a:pPr marL="228600" indent="-228600">
              <a:buAutoNum type="arabicPeriod"/>
            </a:pPr>
            <a:r>
              <a:rPr lang="en-US" sz="1200" b="1" dirty="0">
                <a:latin typeface="Tw Cen MT" panose="020B0602020104020603" pitchFamily="34" charset="0"/>
              </a:rPr>
              <a:t>Sequence Numbering</a:t>
            </a:r>
          </a:p>
          <a:p>
            <a:pPr marL="228600" indent="-228600">
              <a:buAutoNum type="arabicPeriod"/>
            </a:pPr>
            <a:endParaRPr lang="en-US" sz="1200" b="1" dirty="0">
              <a:latin typeface="Tw Cen MT" panose="020B0602020104020603" pitchFamily="34" charset="0"/>
            </a:endParaRPr>
          </a:p>
        </p:txBody>
      </p:sp>
      <p:pic>
        <p:nvPicPr>
          <p:cNvPr id="5" name="Picture 4"/>
          <p:cNvPicPr>
            <a:picLocks noChangeAspect="1"/>
          </p:cNvPicPr>
          <p:nvPr/>
        </p:nvPicPr>
        <p:blipFill>
          <a:blip r:embed="rId2"/>
          <a:stretch>
            <a:fillRect/>
          </a:stretch>
        </p:blipFill>
        <p:spPr>
          <a:xfrm>
            <a:off x="267855" y="1228339"/>
            <a:ext cx="4944533" cy="3187110"/>
          </a:xfrm>
          <a:prstGeom prst="rect">
            <a:avLst/>
          </a:prstGeom>
        </p:spPr>
      </p:pic>
      <p:sp>
        <p:nvSpPr>
          <p:cNvPr id="6" name="Oval 5"/>
          <p:cNvSpPr/>
          <p:nvPr/>
        </p:nvSpPr>
        <p:spPr>
          <a:xfrm>
            <a:off x="4789014" y="1710288"/>
            <a:ext cx="275208" cy="26633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7" name="Oval 6"/>
          <p:cNvSpPr/>
          <p:nvPr/>
        </p:nvSpPr>
        <p:spPr>
          <a:xfrm>
            <a:off x="5326686" y="2331325"/>
            <a:ext cx="275208" cy="26633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endParaRPr lang="en-US" dirty="0"/>
          </a:p>
        </p:txBody>
      </p:sp>
      <p:pic>
        <p:nvPicPr>
          <p:cNvPr id="8" name="Picture 7"/>
          <p:cNvPicPr>
            <a:picLocks noChangeAspect="1"/>
          </p:cNvPicPr>
          <p:nvPr/>
        </p:nvPicPr>
        <p:blipFill>
          <a:blip r:embed="rId3"/>
          <a:stretch>
            <a:fillRect/>
          </a:stretch>
        </p:blipFill>
        <p:spPr>
          <a:xfrm>
            <a:off x="6402989" y="2244946"/>
            <a:ext cx="5683259" cy="3785182"/>
          </a:xfrm>
          <a:prstGeom prst="rect">
            <a:avLst/>
          </a:prstGeom>
          <a:ln w="12700" cap="sq">
            <a:solidFill>
              <a:srgbClr val="000000"/>
            </a:solidFill>
            <a:miter lim="800000"/>
          </a:ln>
          <a:effectLst>
            <a:outerShdw blurRad="57150" dist="50800" dir="2700000" algn="tl" rotWithShape="0">
              <a:srgbClr val="000000">
                <a:alpha val="40000"/>
              </a:srgbClr>
            </a:outerShdw>
          </a:effectLst>
        </p:spPr>
      </p:pic>
      <p:sp>
        <p:nvSpPr>
          <p:cNvPr id="9" name="Oval 8"/>
          <p:cNvSpPr/>
          <p:nvPr/>
        </p:nvSpPr>
        <p:spPr>
          <a:xfrm>
            <a:off x="8980170" y="5378434"/>
            <a:ext cx="275208" cy="26633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3</a:t>
            </a:r>
            <a:endParaRPr lang="en-US" dirty="0"/>
          </a:p>
        </p:txBody>
      </p:sp>
      <p:sp>
        <p:nvSpPr>
          <p:cNvPr id="10" name="Oval 9"/>
          <p:cNvSpPr/>
          <p:nvPr/>
        </p:nvSpPr>
        <p:spPr>
          <a:xfrm>
            <a:off x="354076" y="5703597"/>
            <a:ext cx="275208" cy="26633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cxnSp>
        <p:nvCxnSpPr>
          <p:cNvPr id="11" name="Straight Connector 10"/>
          <p:cNvCxnSpPr/>
          <p:nvPr/>
        </p:nvCxnSpPr>
        <p:spPr>
          <a:xfrm>
            <a:off x="9255378" y="5551642"/>
            <a:ext cx="460807" cy="19798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6" idx="2"/>
          </p:cNvCxnSpPr>
          <p:nvPr/>
        </p:nvCxnSpPr>
        <p:spPr>
          <a:xfrm flipV="1">
            <a:off x="3021864" y="1843453"/>
            <a:ext cx="1767150" cy="2494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endCxn id="7" idx="2"/>
          </p:cNvCxnSpPr>
          <p:nvPr/>
        </p:nvCxnSpPr>
        <p:spPr>
          <a:xfrm>
            <a:off x="4789014" y="2232744"/>
            <a:ext cx="537672" cy="23174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7" idx="2"/>
          </p:cNvCxnSpPr>
          <p:nvPr/>
        </p:nvCxnSpPr>
        <p:spPr>
          <a:xfrm flipH="1">
            <a:off x="4789014" y="2464490"/>
            <a:ext cx="537672" cy="9858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4"/>
          <a:stretch>
            <a:fillRect/>
          </a:stretch>
        </p:blipFill>
        <p:spPr>
          <a:xfrm>
            <a:off x="1086980" y="4977420"/>
            <a:ext cx="4771050" cy="1452354"/>
          </a:xfrm>
          <a:prstGeom prst="rect">
            <a:avLst/>
          </a:prstGeom>
        </p:spPr>
      </p:pic>
      <p:cxnSp>
        <p:nvCxnSpPr>
          <p:cNvPr id="16" name="Straight Connector 15"/>
          <p:cNvCxnSpPr>
            <a:stCxn id="10" idx="6"/>
          </p:cNvCxnSpPr>
          <p:nvPr/>
        </p:nvCxnSpPr>
        <p:spPr>
          <a:xfrm flipV="1">
            <a:off x="629284" y="5394816"/>
            <a:ext cx="1059244" cy="44194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0" idx="6"/>
          </p:cNvCxnSpPr>
          <p:nvPr/>
        </p:nvCxnSpPr>
        <p:spPr>
          <a:xfrm>
            <a:off x="629284" y="5836762"/>
            <a:ext cx="1076303" cy="54652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132338" y="1067834"/>
            <a:ext cx="418290" cy="39883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a:t>A</a:t>
            </a:r>
            <a:endParaRPr lang="en-ID" sz="2400" b="1"/>
          </a:p>
        </p:txBody>
      </p:sp>
      <p:sp>
        <p:nvSpPr>
          <p:cNvPr id="19" name="Oval 18"/>
          <p:cNvSpPr/>
          <p:nvPr/>
        </p:nvSpPr>
        <p:spPr>
          <a:xfrm>
            <a:off x="6126752" y="2065656"/>
            <a:ext cx="418290" cy="39883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a:t>B</a:t>
            </a:r>
            <a:endParaRPr lang="en-ID" sz="2400" b="1"/>
          </a:p>
        </p:txBody>
      </p:sp>
      <p:sp>
        <p:nvSpPr>
          <p:cNvPr id="20" name="Oval 19"/>
          <p:cNvSpPr/>
          <p:nvPr/>
        </p:nvSpPr>
        <p:spPr>
          <a:xfrm>
            <a:off x="877835" y="4805048"/>
            <a:ext cx="418290" cy="39883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a:t>C</a:t>
            </a:r>
            <a:endParaRPr lang="en-ID" sz="2400" b="1"/>
          </a:p>
        </p:txBody>
      </p:sp>
      <p:sp>
        <p:nvSpPr>
          <p:cNvPr id="21" name="TextBox 20"/>
          <p:cNvSpPr txBox="1"/>
          <p:nvPr/>
        </p:nvSpPr>
        <p:spPr>
          <a:xfrm>
            <a:off x="1410725" y="939413"/>
            <a:ext cx="3385981" cy="369332"/>
          </a:xfrm>
          <a:prstGeom prst="rect">
            <a:avLst/>
          </a:prstGeom>
          <a:noFill/>
        </p:spPr>
        <p:txBody>
          <a:bodyPr wrap="square" rtlCol="0">
            <a:spAutoFit/>
          </a:bodyPr>
          <a:lstStyle/>
          <a:p>
            <a:r>
              <a:rPr lang="en-US"/>
              <a:t>Pendaftaran KTP Peserta Lelang</a:t>
            </a:r>
            <a:endParaRPr lang="en-ID"/>
          </a:p>
        </p:txBody>
      </p:sp>
      <p:sp>
        <p:nvSpPr>
          <p:cNvPr id="22" name="TextBox 21"/>
          <p:cNvSpPr txBox="1"/>
          <p:nvPr/>
        </p:nvSpPr>
        <p:spPr>
          <a:xfrm>
            <a:off x="7713277" y="1891520"/>
            <a:ext cx="3385981" cy="369332"/>
          </a:xfrm>
          <a:prstGeom prst="rect">
            <a:avLst/>
          </a:prstGeom>
          <a:noFill/>
        </p:spPr>
        <p:txBody>
          <a:bodyPr wrap="square" rtlCol="0">
            <a:spAutoFit/>
          </a:bodyPr>
          <a:lstStyle/>
          <a:p>
            <a:pPr algn="ctr"/>
            <a:r>
              <a:rPr lang="en-US"/>
              <a:t>Pembuatan Lot Lelang</a:t>
            </a:r>
            <a:endParaRPr lang="en-ID"/>
          </a:p>
        </p:txBody>
      </p:sp>
      <p:sp>
        <p:nvSpPr>
          <p:cNvPr id="23" name="TextBox 22"/>
          <p:cNvSpPr txBox="1"/>
          <p:nvPr/>
        </p:nvSpPr>
        <p:spPr>
          <a:xfrm>
            <a:off x="1956738" y="4635133"/>
            <a:ext cx="3385981" cy="369332"/>
          </a:xfrm>
          <a:prstGeom prst="rect">
            <a:avLst/>
          </a:prstGeom>
          <a:noFill/>
        </p:spPr>
        <p:txBody>
          <a:bodyPr wrap="square" rtlCol="0">
            <a:spAutoFit/>
          </a:bodyPr>
          <a:lstStyle/>
          <a:p>
            <a:pPr algn="ctr"/>
            <a:r>
              <a:rPr lang="en-US"/>
              <a:t>Perekaman Penawaran Lelang</a:t>
            </a:r>
            <a:endParaRPr lang="en-ID"/>
          </a:p>
        </p:txBody>
      </p:sp>
      <p:sp>
        <p:nvSpPr>
          <p:cNvPr id="24" name="Title 1">
            <a:extLst>
              <a:ext uri="{FF2B5EF4-FFF2-40B4-BE49-F238E27FC236}">
                <a16:creationId xmlns:a16="http://schemas.microsoft.com/office/drawing/2014/main" id="{3231EB1B-A0BD-090E-691D-2FCF4010377E}"/>
              </a:ext>
            </a:extLst>
          </p:cNvPr>
          <p:cNvSpPr>
            <a:spLocks noGrp="1"/>
          </p:cNvSpPr>
          <p:nvPr>
            <p:ph type="title"/>
          </p:nvPr>
        </p:nvSpPr>
        <p:spPr>
          <a:xfrm>
            <a:off x="1785570" y="71118"/>
            <a:ext cx="9100654" cy="898576"/>
          </a:xfrm>
        </p:spPr>
        <p:txBody>
          <a:bodyPr/>
          <a:lstStyle/>
          <a:p>
            <a:r>
              <a:rPr lang="en-AU" dirty="0" err="1"/>
              <a:t>Ilustrasi</a:t>
            </a:r>
            <a:r>
              <a:rPr lang="en-AU" dirty="0"/>
              <a:t> </a:t>
            </a:r>
            <a:r>
              <a:rPr lang="en-AU" dirty="0" err="1"/>
              <a:t>Pengendalian</a:t>
            </a:r>
            <a:r>
              <a:rPr lang="en-AU" dirty="0"/>
              <a:t> </a:t>
            </a:r>
            <a:r>
              <a:rPr lang="en-AU" dirty="0" err="1"/>
              <a:t>Aplikasi</a:t>
            </a:r>
            <a:endParaRPr lang="en-AU" dirty="0"/>
          </a:p>
        </p:txBody>
      </p:sp>
    </p:spTree>
    <p:extLst>
      <p:ext uri="{BB962C8B-B14F-4D97-AF65-F5344CB8AC3E}">
        <p14:creationId xmlns:p14="http://schemas.microsoft.com/office/powerpoint/2010/main" val="37464726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2919" y="215759"/>
            <a:ext cx="9100654" cy="898576"/>
          </a:xfrm>
        </p:spPr>
        <p:txBody>
          <a:bodyPr/>
          <a:lstStyle/>
          <a:p>
            <a:r>
              <a:rPr lang="en-US" i="1"/>
              <a:t>Risk and Control Matrix </a:t>
            </a:r>
            <a:r>
              <a:rPr lang="en-US"/>
              <a:t>(RCM)</a:t>
            </a:r>
            <a:endParaRPr lang="en-ID"/>
          </a:p>
        </p:txBody>
      </p:sp>
      <p:pic>
        <p:nvPicPr>
          <p:cNvPr id="4" name="Picture 3">
            <a:extLst>
              <a:ext uri="{FF2B5EF4-FFF2-40B4-BE49-F238E27FC236}">
                <a16:creationId xmlns:a16="http://schemas.microsoft.com/office/drawing/2014/main" id="{1D77DE01-D2C4-47CD-808B-E27E596A9A79}"/>
              </a:ext>
            </a:extLst>
          </p:cNvPr>
          <p:cNvPicPr>
            <a:picLocks noChangeAspect="1"/>
          </p:cNvPicPr>
          <p:nvPr/>
        </p:nvPicPr>
        <p:blipFill>
          <a:blip r:embed="rId2"/>
          <a:stretch>
            <a:fillRect/>
          </a:stretch>
        </p:blipFill>
        <p:spPr>
          <a:xfrm>
            <a:off x="1218427" y="3179618"/>
            <a:ext cx="9755146" cy="2848742"/>
          </a:xfrm>
          <a:prstGeom prst="rect">
            <a:avLst/>
          </a:prstGeom>
        </p:spPr>
      </p:pic>
      <p:sp>
        <p:nvSpPr>
          <p:cNvPr id="5" name="TextBox 4">
            <a:extLst>
              <a:ext uri="{FF2B5EF4-FFF2-40B4-BE49-F238E27FC236}">
                <a16:creationId xmlns:a16="http://schemas.microsoft.com/office/drawing/2014/main" id="{B89D0A99-2887-4BB8-AEA3-243AA70F27B4}"/>
              </a:ext>
            </a:extLst>
          </p:cNvPr>
          <p:cNvSpPr txBox="1"/>
          <p:nvPr/>
        </p:nvSpPr>
        <p:spPr>
          <a:xfrm>
            <a:off x="838200" y="1208604"/>
            <a:ext cx="10515600" cy="1569660"/>
          </a:xfrm>
          <a:prstGeom prst="rect">
            <a:avLst/>
          </a:prstGeom>
          <a:noFill/>
        </p:spPr>
        <p:txBody>
          <a:bodyPr wrap="square">
            <a:spAutoFit/>
          </a:bodyPr>
          <a:lstStyle/>
          <a:p>
            <a:pPr lvl="0" algn="just">
              <a:spcBef>
                <a:spcPct val="20000"/>
              </a:spcBef>
              <a:defRPr/>
            </a:pPr>
            <a:r>
              <a:rPr lang="en-US" sz="2400" dirty="0">
                <a:solidFill>
                  <a:schemeClr val="bg2">
                    <a:lumMod val="50000"/>
                  </a:schemeClr>
                </a:solidFill>
                <a:latin typeface="Segoe UI" panose="020B0502040204020203" pitchFamily="34" charset="0"/>
                <a:cs typeface="Segoe UI" panose="020B0502040204020203" pitchFamily="34" charset="0"/>
              </a:rPr>
              <a:t>T</a:t>
            </a:r>
            <a:r>
              <a:rPr lang="id-ID" sz="2400" dirty="0">
                <a:solidFill>
                  <a:schemeClr val="bg2">
                    <a:lumMod val="50000"/>
                  </a:schemeClr>
                </a:solidFill>
                <a:latin typeface="Segoe UI" panose="020B0502040204020203" pitchFamily="34" charset="0"/>
                <a:cs typeface="Segoe UI" panose="020B0502040204020203" pitchFamily="34" charset="0"/>
              </a:rPr>
              <a:t>abel yang memuat </a:t>
            </a:r>
            <a:r>
              <a:rPr lang="id-ID" sz="2400" b="1" dirty="0">
                <a:latin typeface="Segoe UI" panose="020B0502040204020203" pitchFamily="34" charset="0"/>
                <a:cs typeface="Segoe UI" panose="020B0502040204020203" pitchFamily="34" charset="0"/>
              </a:rPr>
              <a:t>hasil identifikasi dan penilaian risiko dan pengendalian </a:t>
            </a:r>
            <a:r>
              <a:rPr lang="id-ID" sz="2400" dirty="0">
                <a:solidFill>
                  <a:schemeClr val="bg2">
                    <a:lumMod val="50000"/>
                  </a:schemeClr>
                </a:solidFill>
                <a:latin typeface="Segoe UI" panose="020B0502040204020203" pitchFamily="34" charset="0"/>
                <a:cs typeface="Segoe UI" panose="020B0502040204020203" pitchFamily="34" charset="0"/>
              </a:rPr>
              <a:t>oleh auditor atas </a:t>
            </a:r>
            <a:r>
              <a:rPr lang="id-ID" sz="2400" b="1" dirty="0">
                <a:latin typeface="Segoe UI" panose="020B0502040204020203" pitchFamily="34" charset="0"/>
                <a:cs typeface="Segoe UI" panose="020B0502040204020203" pitchFamily="34" charset="0"/>
              </a:rPr>
              <a:t>aktivitas-aktivitas </a:t>
            </a:r>
            <a:r>
              <a:rPr lang="id-ID" sz="2400" dirty="0">
                <a:solidFill>
                  <a:schemeClr val="bg2">
                    <a:lumMod val="50000"/>
                  </a:schemeClr>
                </a:solidFill>
                <a:latin typeface="Segoe UI" panose="020B0502040204020203" pitchFamily="34" charset="0"/>
                <a:cs typeface="Segoe UI" panose="020B0502040204020203" pitchFamily="34" charset="0"/>
              </a:rPr>
              <a:t>pada</a:t>
            </a:r>
            <a:r>
              <a:rPr lang="id-ID" sz="2400" dirty="0">
                <a:latin typeface="Segoe UI" panose="020B0502040204020203" pitchFamily="34" charset="0"/>
                <a:cs typeface="Segoe UI" panose="020B0502040204020203" pitchFamily="34" charset="0"/>
              </a:rPr>
              <a:t> </a:t>
            </a:r>
            <a:r>
              <a:rPr lang="id-ID" sz="2400" b="1" dirty="0">
                <a:latin typeface="Segoe UI" panose="020B0502040204020203" pitchFamily="34" charset="0"/>
                <a:cs typeface="Segoe UI" panose="020B0502040204020203" pitchFamily="34" charset="0"/>
              </a:rPr>
              <a:t>proses bisnis</a:t>
            </a:r>
            <a:r>
              <a:rPr lang="id-ID" sz="2400" dirty="0">
                <a:latin typeface="Segoe UI" panose="020B0502040204020203" pitchFamily="34" charset="0"/>
                <a:cs typeface="Segoe UI" panose="020B0502040204020203" pitchFamily="34" charset="0"/>
              </a:rPr>
              <a:t> </a:t>
            </a:r>
            <a:r>
              <a:rPr lang="id-ID" sz="2400" dirty="0">
                <a:solidFill>
                  <a:schemeClr val="bg2">
                    <a:lumMod val="50000"/>
                  </a:schemeClr>
                </a:solidFill>
                <a:latin typeface="Segoe UI" panose="020B0502040204020203" pitchFamily="34" charset="0"/>
                <a:cs typeface="Segoe UI" panose="020B0502040204020203" pitchFamily="34" charset="0"/>
              </a:rPr>
              <a:t>yang menjadi obyek kegiatan pengawasan sebagai </a:t>
            </a:r>
            <a:r>
              <a:rPr lang="id-ID" sz="2400" b="1" dirty="0">
                <a:latin typeface="Segoe UI" panose="020B0502040204020203" pitchFamily="34" charset="0"/>
                <a:cs typeface="Segoe UI" panose="020B0502040204020203" pitchFamily="34" charset="0"/>
              </a:rPr>
              <a:t>dasar penentuan langkah kerja</a:t>
            </a:r>
            <a:r>
              <a:rPr lang="id-ID" sz="2400" dirty="0">
                <a:latin typeface="Segoe UI" panose="020B0502040204020203" pitchFamily="34" charset="0"/>
                <a:cs typeface="Segoe UI" panose="020B0502040204020203" pitchFamily="34" charset="0"/>
              </a:rPr>
              <a:t> </a:t>
            </a:r>
            <a:r>
              <a:rPr lang="id-ID" sz="2400" dirty="0">
                <a:solidFill>
                  <a:schemeClr val="bg2">
                    <a:lumMod val="50000"/>
                  </a:schemeClr>
                </a:solidFill>
                <a:latin typeface="Segoe UI" panose="020B0502040204020203" pitchFamily="34" charset="0"/>
                <a:cs typeface="Segoe UI" panose="020B0502040204020203" pitchFamily="34" charset="0"/>
              </a:rPr>
              <a:t>pengujian pengendalian</a:t>
            </a:r>
            <a:endParaRPr lang="en-US" sz="2400" dirty="0">
              <a:solidFill>
                <a:schemeClr val="bg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779379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43800-F95C-88C3-29C5-B7F43A47A157}"/>
              </a:ext>
            </a:extLst>
          </p:cNvPr>
          <p:cNvSpPr>
            <a:spLocks noGrp="1"/>
          </p:cNvSpPr>
          <p:nvPr>
            <p:ph type="title"/>
          </p:nvPr>
        </p:nvSpPr>
        <p:spPr>
          <a:xfrm>
            <a:off x="428887" y="272288"/>
            <a:ext cx="11334224" cy="553998"/>
          </a:xfrm>
        </p:spPr>
        <p:txBody>
          <a:bodyPr/>
          <a:lstStyle/>
          <a:p>
            <a:r>
              <a:rPr lang="en-AU" dirty="0"/>
              <a:t>Key Success Factor</a:t>
            </a:r>
          </a:p>
        </p:txBody>
      </p:sp>
      <p:graphicFrame>
        <p:nvGraphicFramePr>
          <p:cNvPr id="4" name="Diagram 3">
            <a:extLst>
              <a:ext uri="{FF2B5EF4-FFF2-40B4-BE49-F238E27FC236}">
                <a16:creationId xmlns:a16="http://schemas.microsoft.com/office/drawing/2014/main" id="{EDF4FFDA-F3F7-D45A-8EC2-65955A2ACCC6}"/>
              </a:ext>
            </a:extLst>
          </p:cNvPr>
          <p:cNvGraphicFramePr/>
          <p:nvPr>
            <p:extLst>
              <p:ext uri="{D42A27DB-BD31-4B8C-83A1-F6EECF244321}">
                <p14:modId xmlns:p14="http://schemas.microsoft.com/office/powerpoint/2010/main" val="1952641125"/>
              </p:ext>
            </p:extLst>
          </p:nvPr>
        </p:nvGraphicFramePr>
        <p:xfrm>
          <a:off x="-334537" y="1119666"/>
          <a:ext cx="12526537" cy="50581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656112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8059" y="110383"/>
            <a:ext cx="9100654" cy="898576"/>
          </a:xfrm>
        </p:spPr>
        <p:txBody>
          <a:bodyPr/>
          <a:lstStyle/>
          <a:p>
            <a:r>
              <a:rPr lang="en-US"/>
              <a:t>Uji Pengendalian Aplikasi (</a:t>
            </a:r>
            <a:r>
              <a:rPr lang="en-US" i="1"/>
              <a:t>Test of Control</a:t>
            </a:r>
            <a:r>
              <a:rPr lang="en-US"/>
              <a:t>)</a:t>
            </a:r>
            <a:endParaRPr lang="en-ID"/>
          </a:p>
        </p:txBody>
      </p:sp>
      <p:sp>
        <p:nvSpPr>
          <p:cNvPr id="4" name="Rectangle 3">
            <a:extLst>
              <a:ext uri="{FF2B5EF4-FFF2-40B4-BE49-F238E27FC236}">
                <a16:creationId xmlns:a16="http://schemas.microsoft.com/office/drawing/2014/main" id="{D65490A9-0D9C-402A-B516-875D2F4E94B2}"/>
              </a:ext>
            </a:extLst>
          </p:cNvPr>
          <p:cNvSpPr/>
          <p:nvPr/>
        </p:nvSpPr>
        <p:spPr>
          <a:xfrm>
            <a:off x="421201" y="2140434"/>
            <a:ext cx="2707857" cy="29090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867"/>
          </a:p>
        </p:txBody>
      </p:sp>
      <p:sp>
        <p:nvSpPr>
          <p:cNvPr id="5" name="TextBox 4">
            <a:extLst>
              <a:ext uri="{FF2B5EF4-FFF2-40B4-BE49-F238E27FC236}">
                <a16:creationId xmlns:a16="http://schemas.microsoft.com/office/drawing/2014/main" id="{C1E81C0D-193D-400B-82E2-B1BD9922440D}"/>
              </a:ext>
            </a:extLst>
          </p:cNvPr>
          <p:cNvSpPr txBox="1"/>
          <p:nvPr/>
        </p:nvSpPr>
        <p:spPr>
          <a:xfrm flipH="1">
            <a:off x="254946" y="1332030"/>
            <a:ext cx="8422641" cy="379656"/>
          </a:xfrm>
          <a:prstGeom prst="rect">
            <a:avLst/>
          </a:prstGeom>
          <a:noFill/>
        </p:spPr>
        <p:txBody>
          <a:bodyPr wrap="square" rtlCol="0">
            <a:spAutoFit/>
          </a:bodyPr>
          <a:lstStyle/>
          <a:p>
            <a:r>
              <a:rPr lang="en-US" sz="1867"/>
              <a:t>Pengujian pengendalian dilakukan dengan menggunakan </a:t>
            </a:r>
            <a:r>
              <a:rPr lang="en-US" sz="1867" b="1"/>
              <a:t>pendekatan risiko.</a:t>
            </a:r>
            <a:endParaRPr lang="id-ID" sz="1867" b="1"/>
          </a:p>
        </p:txBody>
      </p:sp>
      <p:sp>
        <p:nvSpPr>
          <p:cNvPr id="6" name="TextBox 5">
            <a:extLst>
              <a:ext uri="{FF2B5EF4-FFF2-40B4-BE49-F238E27FC236}">
                <a16:creationId xmlns:a16="http://schemas.microsoft.com/office/drawing/2014/main" id="{700468E0-2318-4F1C-AA5A-CB019BB0C175}"/>
              </a:ext>
            </a:extLst>
          </p:cNvPr>
          <p:cNvSpPr txBox="1"/>
          <p:nvPr/>
        </p:nvSpPr>
        <p:spPr>
          <a:xfrm flipH="1">
            <a:off x="739802" y="2350229"/>
            <a:ext cx="2070653" cy="379656"/>
          </a:xfrm>
          <a:prstGeom prst="rect">
            <a:avLst/>
          </a:prstGeom>
          <a:noFill/>
        </p:spPr>
        <p:txBody>
          <a:bodyPr wrap="square" rtlCol="0">
            <a:spAutoFit/>
          </a:bodyPr>
          <a:lstStyle/>
          <a:p>
            <a:pPr algn="ctr"/>
            <a:r>
              <a:rPr lang="en-US" sz="1867" b="1"/>
              <a:t>IDENTIFIKASI</a:t>
            </a:r>
          </a:p>
        </p:txBody>
      </p:sp>
      <p:sp>
        <p:nvSpPr>
          <p:cNvPr id="7" name="TextBox 6">
            <a:extLst>
              <a:ext uri="{FF2B5EF4-FFF2-40B4-BE49-F238E27FC236}">
                <a16:creationId xmlns:a16="http://schemas.microsoft.com/office/drawing/2014/main" id="{8D50A4EA-1433-4C40-A362-407BB3906196}"/>
              </a:ext>
            </a:extLst>
          </p:cNvPr>
          <p:cNvSpPr txBox="1"/>
          <p:nvPr/>
        </p:nvSpPr>
        <p:spPr>
          <a:xfrm flipH="1">
            <a:off x="7989117" y="1862782"/>
            <a:ext cx="3603443" cy="2103589"/>
          </a:xfrm>
          <a:prstGeom prst="rect">
            <a:avLst/>
          </a:prstGeom>
          <a:solidFill>
            <a:schemeClr val="accent1"/>
          </a:solidFill>
        </p:spPr>
        <p:txBody>
          <a:bodyPr wrap="square" rtlCol="0">
            <a:spAutoFit/>
          </a:bodyPr>
          <a:lstStyle/>
          <a:p>
            <a:r>
              <a:rPr lang="en-US" sz="1867" b="1">
                <a:solidFill>
                  <a:schemeClr val="bg1"/>
                </a:solidFill>
              </a:rPr>
              <a:t>UJI KECUKUPAN RANCANGAN PENGENDALIAN</a:t>
            </a:r>
          </a:p>
          <a:p>
            <a:endParaRPr lang="en-US" sz="1867">
              <a:solidFill>
                <a:schemeClr val="bg1"/>
              </a:solidFill>
              <a:latin typeface="Candara" panose="020E0502030303020204" pitchFamily="34" charset="0"/>
            </a:endParaRPr>
          </a:p>
          <a:p>
            <a:r>
              <a:rPr lang="en-US" sz="1867">
                <a:solidFill>
                  <a:schemeClr val="bg1"/>
                </a:solidFill>
                <a:latin typeface="Candara" panose="020E0502030303020204" pitchFamily="34" charset="0"/>
              </a:rPr>
              <a:t>Memastikan bahwa aplikasi dirancang secara memadai untuk memitigasi risiko-risiko utama</a:t>
            </a:r>
            <a:r>
              <a:rPr lang="en-US" sz="1867"/>
              <a:t>.</a:t>
            </a:r>
            <a:endParaRPr lang="id-ID" sz="1867"/>
          </a:p>
        </p:txBody>
      </p:sp>
      <p:sp>
        <p:nvSpPr>
          <p:cNvPr id="8" name="TextBox 7">
            <a:extLst>
              <a:ext uri="{FF2B5EF4-FFF2-40B4-BE49-F238E27FC236}">
                <a16:creationId xmlns:a16="http://schemas.microsoft.com/office/drawing/2014/main" id="{806BCFF8-DA60-4491-BA39-5F5BD7D70EF2}"/>
              </a:ext>
            </a:extLst>
          </p:cNvPr>
          <p:cNvSpPr txBox="1"/>
          <p:nvPr/>
        </p:nvSpPr>
        <p:spPr>
          <a:xfrm flipH="1">
            <a:off x="7989117" y="4322013"/>
            <a:ext cx="3603443" cy="1816266"/>
          </a:xfrm>
          <a:prstGeom prst="rect">
            <a:avLst/>
          </a:prstGeom>
          <a:solidFill>
            <a:schemeClr val="accent1"/>
          </a:solidFill>
        </p:spPr>
        <p:txBody>
          <a:bodyPr wrap="square" rtlCol="0">
            <a:spAutoFit/>
          </a:bodyPr>
          <a:lstStyle/>
          <a:p>
            <a:r>
              <a:rPr lang="en-US" sz="1867" b="1">
                <a:solidFill>
                  <a:schemeClr val="bg1"/>
                </a:solidFill>
              </a:rPr>
              <a:t>UJI EFEKTIFITAS PENGENDALIAN</a:t>
            </a:r>
          </a:p>
          <a:p>
            <a:endParaRPr lang="en-US" sz="1867">
              <a:solidFill>
                <a:schemeClr val="bg1"/>
              </a:solidFill>
              <a:latin typeface="Candara" panose="020E0502030303020204" pitchFamily="34" charset="0"/>
            </a:endParaRPr>
          </a:p>
          <a:p>
            <a:r>
              <a:rPr lang="en-US" sz="1867">
                <a:solidFill>
                  <a:schemeClr val="bg1"/>
                </a:solidFill>
                <a:latin typeface="Candara" panose="020E0502030303020204" pitchFamily="34" charset="0"/>
              </a:rPr>
              <a:t>Memastikan bahwa aplikasi beroperasi secara efektif untuk memitigasi risiko-risiko utama</a:t>
            </a:r>
            <a:r>
              <a:rPr lang="en-US" sz="1867">
                <a:latin typeface="Candara" panose="020E0502030303020204" pitchFamily="34" charset="0"/>
              </a:rPr>
              <a:t>.</a:t>
            </a:r>
            <a:endParaRPr lang="id-ID" sz="1867">
              <a:latin typeface="Candara" panose="020E0502030303020204" pitchFamily="34" charset="0"/>
            </a:endParaRPr>
          </a:p>
        </p:txBody>
      </p:sp>
      <p:sp>
        <p:nvSpPr>
          <p:cNvPr id="9" name="Rectangle 8">
            <a:extLst>
              <a:ext uri="{FF2B5EF4-FFF2-40B4-BE49-F238E27FC236}">
                <a16:creationId xmlns:a16="http://schemas.microsoft.com/office/drawing/2014/main" id="{55B805C5-567E-4B8F-947B-820093B4712A}"/>
              </a:ext>
            </a:extLst>
          </p:cNvPr>
          <p:cNvSpPr/>
          <p:nvPr/>
        </p:nvSpPr>
        <p:spPr>
          <a:xfrm>
            <a:off x="578678" y="3844863"/>
            <a:ext cx="2392901" cy="954300"/>
          </a:xfrm>
          <a:prstGeom prst="rect">
            <a:avLst/>
          </a:prstGeom>
          <a:solidFill>
            <a:schemeClr val="accent2">
              <a:lumMod val="20000"/>
              <a:lumOff val="80000"/>
            </a:schemeClr>
          </a:solidFill>
          <a:ln w="12700">
            <a:noFill/>
          </a:ln>
        </p:spPr>
        <p:txBody>
          <a:bodyPr wrap="square">
            <a:spAutoFit/>
          </a:bodyPr>
          <a:lstStyle/>
          <a:p>
            <a:pPr algn="ctr"/>
            <a:r>
              <a:rPr lang="en-US" sz="1867"/>
              <a:t>Pengendalian Aplikasi </a:t>
            </a:r>
          </a:p>
          <a:p>
            <a:pPr algn="ctr"/>
            <a:r>
              <a:rPr lang="en-US" sz="1867"/>
              <a:t>yang Ada</a:t>
            </a:r>
            <a:endParaRPr lang="id-ID" sz="1867"/>
          </a:p>
        </p:txBody>
      </p:sp>
      <p:sp>
        <p:nvSpPr>
          <p:cNvPr id="10" name="Rectangle 9">
            <a:extLst>
              <a:ext uri="{FF2B5EF4-FFF2-40B4-BE49-F238E27FC236}">
                <a16:creationId xmlns:a16="http://schemas.microsoft.com/office/drawing/2014/main" id="{1442C83A-5FFF-4858-8285-CBC7E453C50C}"/>
              </a:ext>
            </a:extLst>
          </p:cNvPr>
          <p:cNvSpPr/>
          <p:nvPr/>
        </p:nvSpPr>
        <p:spPr>
          <a:xfrm>
            <a:off x="603858" y="3084366"/>
            <a:ext cx="2367721" cy="666977"/>
          </a:xfrm>
          <a:prstGeom prst="rect">
            <a:avLst/>
          </a:prstGeom>
          <a:solidFill>
            <a:schemeClr val="accent2">
              <a:lumMod val="20000"/>
              <a:lumOff val="80000"/>
            </a:schemeClr>
          </a:solidFill>
          <a:ln w="12700">
            <a:noFill/>
          </a:ln>
        </p:spPr>
        <p:txBody>
          <a:bodyPr wrap="square">
            <a:spAutoFit/>
          </a:bodyPr>
          <a:lstStyle/>
          <a:p>
            <a:pPr algn="ctr"/>
            <a:r>
              <a:rPr lang="en-US" sz="1867"/>
              <a:t>Risiko Dalam Probis</a:t>
            </a:r>
          </a:p>
          <a:p>
            <a:pPr algn="ctr"/>
            <a:endParaRPr lang="en-US" sz="1867"/>
          </a:p>
        </p:txBody>
      </p:sp>
      <p:sp>
        <p:nvSpPr>
          <p:cNvPr id="11" name="Rectangle 10">
            <a:extLst>
              <a:ext uri="{FF2B5EF4-FFF2-40B4-BE49-F238E27FC236}">
                <a16:creationId xmlns:a16="http://schemas.microsoft.com/office/drawing/2014/main" id="{F9340625-D8AA-4280-A8FA-EA3E1D2A8872}"/>
              </a:ext>
            </a:extLst>
          </p:cNvPr>
          <p:cNvSpPr/>
          <p:nvPr/>
        </p:nvSpPr>
        <p:spPr>
          <a:xfrm>
            <a:off x="4314617" y="2143328"/>
            <a:ext cx="2707856" cy="290619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rPr>
              <a:t>UJI PENGENDALIAN APLIKASI</a:t>
            </a:r>
            <a:endParaRPr lang="id-ID" sz="2400" b="1">
              <a:solidFill>
                <a:schemeClr val="tx1"/>
              </a:solidFill>
            </a:endParaRPr>
          </a:p>
        </p:txBody>
      </p:sp>
      <p:cxnSp>
        <p:nvCxnSpPr>
          <p:cNvPr id="12" name="Connector: Elbow 15">
            <a:extLst>
              <a:ext uri="{FF2B5EF4-FFF2-40B4-BE49-F238E27FC236}">
                <a16:creationId xmlns:a16="http://schemas.microsoft.com/office/drawing/2014/main" id="{851A73A8-A717-4023-8A9E-E1310035A3A3}"/>
              </a:ext>
            </a:extLst>
          </p:cNvPr>
          <p:cNvCxnSpPr>
            <a:cxnSpLocks/>
            <a:stCxn id="11" idx="3"/>
            <a:endCxn id="7" idx="3"/>
          </p:cNvCxnSpPr>
          <p:nvPr/>
        </p:nvCxnSpPr>
        <p:spPr>
          <a:xfrm flipV="1">
            <a:off x="7022473" y="2914577"/>
            <a:ext cx="966644" cy="681848"/>
          </a:xfrm>
          <a:prstGeom prst="bentConnector3">
            <a:avLst/>
          </a:prstGeom>
          <a:ln w="19050">
            <a:solidFill>
              <a:srgbClr val="365CA5"/>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7">
            <a:extLst>
              <a:ext uri="{FF2B5EF4-FFF2-40B4-BE49-F238E27FC236}">
                <a16:creationId xmlns:a16="http://schemas.microsoft.com/office/drawing/2014/main" id="{303916DF-C1A2-45D6-9D64-F22673668705}"/>
              </a:ext>
            </a:extLst>
          </p:cNvPr>
          <p:cNvCxnSpPr>
            <a:cxnSpLocks/>
            <a:stCxn id="11" idx="3"/>
            <a:endCxn id="8" idx="3"/>
          </p:cNvCxnSpPr>
          <p:nvPr/>
        </p:nvCxnSpPr>
        <p:spPr>
          <a:xfrm>
            <a:off x="7022473" y="3596425"/>
            <a:ext cx="966644" cy="1633721"/>
          </a:xfrm>
          <a:prstGeom prst="bentConnector3">
            <a:avLst/>
          </a:prstGeom>
          <a:ln w="19050">
            <a:solidFill>
              <a:srgbClr val="365CA5"/>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EFE90A-E5A8-4221-8EDA-6E3B15F13DCF}"/>
              </a:ext>
            </a:extLst>
          </p:cNvPr>
          <p:cNvCxnSpPr>
            <a:stCxn id="4" idx="3"/>
            <a:endCxn id="11" idx="1"/>
          </p:cNvCxnSpPr>
          <p:nvPr/>
        </p:nvCxnSpPr>
        <p:spPr>
          <a:xfrm>
            <a:off x="3129057" y="3594978"/>
            <a:ext cx="1185560" cy="1447"/>
          </a:xfrm>
          <a:prstGeom prst="straightConnector1">
            <a:avLst/>
          </a:prstGeom>
          <a:ln w="19050">
            <a:solidFill>
              <a:srgbClr val="365CA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06738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stretch>
            <a:fillRect/>
          </a:stretch>
        </p:blipFill>
        <p:spPr>
          <a:xfrm>
            <a:off x="670853" y="1056617"/>
            <a:ext cx="11161807" cy="4844562"/>
          </a:xfrm>
          <a:prstGeom prst="rect">
            <a:avLst/>
          </a:prstGeom>
        </p:spPr>
      </p:pic>
      <p:sp>
        <p:nvSpPr>
          <p:cNvPr id="16" name="Title 1"/>
          <p:cNvSpPr>
            <a:spLocks noGrp="1"/>
          </p:cNvSpPr>
          <p:nvPr>
            <p:ph type="title"/>
          </p:nvPr>
        </p:nvSpPr>
        <p:spPr>
          <a:xfrm>
            <a:off x="1671049" y="130136"/>
            <a:ext cx="9100654" cy="898576"/>
          </a:xfrm>
        </p:spPr>
        <p:txBody>
          <a:bodyPr/>
          <a:lstStyle/>
          <a:p>
            <a:r>
              <a:rPr lang="en-US"/>
              <a:t>Contoh Pelaksanaan </a:t>
            </a:r>
            <a:r>
              <a:rPr lang="en-US" i="1"/>
              <a:t>Test Of Control</a:t>
            </a:r>
            <a:endParaRPr lang="en-ID"/>
          </a:p>
        </p:txBody>
      </p:sp>
    </p:spTree>
    <p:extLst>
      <p:ext uri="{BB962C8B-B14F-4D97-AF65-F5344CB8AC3E}">
        <p14:creationId xmlns:p14="http://schemas.microsoft.com/office/powerpoint/2010/main" val="6905403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2"/>
          <a:stretch>
            <a:fillRect/>
          </a:stretch>
        </p:blipFill>
        <p:spPr>
          <a:xfrm>
            <a:off x="1579417" y="1264413"/>
            <a:ext cx="8429793" cy="4815471"/>
          </a:xfrm>
          <a:prstGeom prst="rect">
            <a:avLst/>
          </a:prstGeom>
        </p:spPr>
      </p:pic>
      <p:sp>
        <p:nvSpPr>
          <p:cNvPr id="25" name="Title 1"/>
          <p:cNvSpPr>
            <a:spLocks noGrp="1"/>
          </p:cNvSpPr>
          <p:nvPr>
            <p:ph type="title"/>
          </p:nvPr>
        </p:nvSpPr>
        <p:spPr>
          <a:xfrm>
            <a:off x="1243986" y="116773"/>
            <a:ext cx="9100654" cy="898576"/>
          </a:xfrm>
        </p:spPr>
        <p:txBody>
          <a:bodyPr/>
          <a:lstStyle/>
          <a:p>
            <a:r>
              <a:rPr lang="en-US"/>
              <a:t>Pendekatan dan Sarana </a:t>
            </a:r>
            <a:r>
              <a:rPr lang="en-US" i="1"/>
              <a:t>Test of Control</a:t>
            </a:r>
            <a:endParaRPr lang="en-ID" i="1"/>
          </a:p>
        </p:txBody>
      </p:sp>
    </p:spTree>
    <p:extLst>
      <p:ext uri="{BB962C8B-B14F-4D97-AF65-F5344CB8AC3E}">
        <p14:creationId xmlns:p14="http://schemas.microsoft.com/office/powerpoint/2010/main" val="821105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1049" y="130136"/>
            <a:ext cx="9100654" cy="898576"/>
          </a:xfrm>
        </p:spPr>
        <p:txBody>
          <a:bodyPr/>
          <a:lstStyle/>
          <a:p>
            <a:r>
              <a:rPr lang="en-US" i="1" dirty="0"/>
              <a:t>Tools </a:t>
            </a:r>
            <a:r>
              <a:rPr lang="en-US" dirty="0"/>
              <a:t>Yang </a:t>
            </a:r>
            <a:r>
              <a:rPr lang="en-US" dirty="0" err="1"/>
              <a:t>Dapat</a:t>
            </a:r>
            <a:r>
              <a:rPr lang="en-US" dirty="0"/>
              <a:t> </a:t>
            </a:r>
            <a:r>
              <a:rPr lang="en-US" dirty="0" err="1"/>
              <a:t>Digunakan</a:t>
            </a:r>
            <a:r>
              <a:rPr lang="en-US" dirty="0"/>
              <a:t> (TABK)</a:t>
            </a:r>
            <a:endParaRPr lang="en-ID" dirty="0"/>
          </a:p>
        </p:txBody>
      </p:sp>
      <p:sp>
        <p:nvSpPr>
          <p:cNvPr id="4" name="Rectangle 3">
            <a:extLst>
              <a:ext uri="{FF2B5EF4-FFF2-40B4-BE49-F238E27FC236}">
                <a16:creationId xmlns:a16="http://schemas.microsoft.com/office/drawing/2014/main" id="{DA9A1FB6-927F-4A7B-81B1-039E86304384}"/>
              </a:ext>
            </a:extLst>
          </p:cNvPr>
          <p:cNvSpPr/>
          <p:nvPr/>
        </p:nvSpPr>
        <p:spPr>
          <a:xfrm>
            <a:off x="3839212" y="1314255"/>
            <a:ext cx="7388111" cy="1579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pPr>
            <a:r>
              <a:rPr lang="en-AU" sz="1600" i="1">
                <a:solidFill>
                  <a:schemeClr val="bg1"/>
                </a:solidFill>
              </a:rPr>
              <a:t>Included </a:t>
            </a:r>
            <a:r>
              <a:rPr lang="en-AU" sz="1600">
                <a:solidFill>
                  <a:schemeClr val="bg1"/>
                </a:solidFill>
              </a:rPr>
              <a:t>saat pembelian aplikasi kantor lain – tidak perlu pembiayaan tambahan</a:t>
            </a:r>
            <a:endParaRPr lang="en-AU" sz="1600" i="1">
              <a:solidFill>
                <a:schemeClr val="bg1"/>
              </a:solidFill>
            </a:endParaRPr>
          </a:p>
          <a:p>
            <a:pPr marL="285750" lvl="0" indent="-285750">
              <a:buFont typeface="Arial" panose="020B0604020202020204" pitchFamily="34" charset="0"/>
              <a:buChar char="•"/>
            </a:pPr>
            <a:r>
              <a:rPr lang="en-AU" sz="1600">
                <a:solidFill>
                  <a:schemeClr val="bg1"/>
                </a:solidFill>
              </a:rPr>
              <a:t>Pelatihan dan </a:t>
            </a:r>
            <a:r>
              <a:rPr lang="en-AU" sz="1600" i="1">
                <a:solidFill>
                  <a:schemeClr val="bg1"/>
                </a:solidFill>
              </a:rPr>
              <a:t>support </a:t>
            </a:r>
            <a:r>
              <a:rPr lang="en-AU" sz="1600">
                <a:solidFill>
                  <a:schemeClr val="bg1"/>
                </a:solidFill>
              </a:rPr>
              <a:t>untuk kompetensi pemanfaatan tersedia luas</a:t>
            </a:r>
            <a:endParaRPr lang="en-AU" sz="1600" i="1">
              <a:solidFill>
                <a:schemeClr val="bg1"/>
              </a:solidFill>
            </a:endParaRPr>
          </a:p>
          <a:p>
            <a:pPr marL="285750" lvl="0" indent="-285750">
              <a:buFont typeface="Arial" panose="020B0604020202020204" pitchFamily="34" charset="0"/>
              <a:buChar char="•"/>
            </a:pPr>
            <a:r>
              <a:rPr lang="en-AU" sz="1600">
                <a:solidFill>
                  <a:schemeClr val="bg1"/>
                </a:solidFill>
              </a:rPr>
              <a:t>Sulit untuk dikembangkan menjadi CA</a:t>
            </a:r>
          </a:p>
        </p:txBody>
      </p:sp>
      <p:sp>
        <p:nvSpPr>
          <p:cNvPr id="5" name="Rectangle 4">
            <a:extLst>
              <a:ext uri="{FF2B5EF4-FFF2-40B4-BE49-F238E27FC236}">
                <a16:creationId xmlns:a16="http://schemas.microsoft.com/office/drawing/2014/main" id="{B7914BF7-C01E-4541-B389-49DEE1B02669}"/>
              </a:ext>
            </a:extLst>
          </p:cNvPr>
          <p:cNvSpPr/>
          <p:nvPr/>
        </p:nvSpPr>
        <p:spPr>
          <a:xfrm>
            <a:off x="3839211" y="3037439"/>
            <a:ext cx="7388111" cy="153147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pPr>
            <a:r>
              <a:rPr lang="en-AU" sz="1600"/>
              <a:t>Aplikasi yang didesign khusus untuk audit (ACL / IDEA) – </a:t>
            </a:r>
            <a:r>
              <a:rPr lang="en-AU" sz="1600" i="1"/>
              <a:t>build-in feature </a:t>
            </a:r>
            <a:r>
              <a:rPr lang="en-AU" sz="1600"/>
              <a:t>khusus audit yang lengkap</a:t>
            </a:r>
          </a:p>
          <a:p>
            <a:pPr marL="285750" lvl="0" indent="-285750">
              <a:buFont typeface="Arial" panose="020B0604020202020204" pitchFamily="34" charset="0"/>
              <a:buChar char="•"/>
            </a:pPr>
            <a:r>
              <a:rPr lang="en-AU" sz="1600" i="1"/>
              <a:t>GUI Based</a:t>
            </a:r>
            <a:endParaRPr lang="en-AU" sz="1600"/>
          </a:p>
          <a:p>
            <a:pPr marL="285750" lvl="0" indent="-285750">
              <a:buFont typeface="Arial" panose="020B0604020202020204" pitchFamily="34" charset="0"/>
              <a:buChar char="•"/>
            </a:pPr>
            <a:r>
              <a:rPr lang="en-AU" sz="1600" i="1"/>
              <a:t>Syntax </a:t>
            </a:r>
            <a:r>
              <a:rPr lang="en-AU" sz="1600"/>
              <a:t>yang tidak universal</a:t>
            </a:r>
          </a:p>
          <a:p>
            <a:pPr marL="285750" lvl="0" indent="-285750">
              <a:buFont typeface="Arial" panose="020B0604020202020204" pitchFamily="34" charset="0"/>
              <a:buChar char="•"/>
            </a:pPr>
            <a:r>
              <a:rPr lang="en-AU" sz="1600"/>
              <a:t>Didesign untuk tidak memodifikasi data, butuh data redudancy</a:t>
            </a:r>
            <a:endParaRPr lang="en-AU" sz="1600" dirty="0"/>
          </a:p>
        </p:txBody>
      </p:sp>
      <p:sp>
        <p:nvSpPr>
          <p:cNvPr id="6" name="Rectangle 5">
            <a:extLst>
              <a:ext uri="{FF2B5EF4-FFF2-40B4-BE49-F238E27FC236}">
                <a16:creationId xmlns:a16="http://schemas.microsoft.com/office/drawing/2014/main" id="{842F4753-70B1-4F15-9E4C-4C144579F7B7}"/>
              </a:ext>
            </a:extLst>
          </p:cNvPr>
          <p:cNvSpPr/>
          <p:nvPr/>
        </p:nvSpPr>
        <p:spPr>
          <a:xfrm>
            <a:off x="3839210" y="4713102"/>
            <a:ext cx="7388111" cy="1489735"/>
          </a:xfrm>
          <a:prstGeom prst="rect">
            <a:avLst/>
          </a:prstGeom>
          <a:solidFill>
            <a:srgbClr val="63A5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pPr>
            <a:r>
              <a:rPr lang="en-AU" sz="1600"/>
              <a:t>Bahasa query yang universal (SQL) dan terstandar</a:t>
            </a:r>
          </a:p>
          <a:p>
            <a:pPr marL="285750" lvl="0" indent="-285750">
              <a:buFont typeface="Arial" panose="020B0604020202020204" pitchFamily="34" charset="0"/>
              <a:buChar char="•"/>
            </a:pPr>
            <a:r>
              <a:rPr lang="en-AU" sz="1600"/>
              <a:t>Resource server yang dipakai saat pengujian – data tidak mengalir ke </a:t>
            </a:r>
            <a:r>
              <a:rPr lang="en-AU" sz="1600" i="1"/>
              <a:t>device </a:t>
            </a:r>
            <a:r>
              <a:rPr lang="en-AU" sz="1600"/>
              <a:t>auditor</a:t>
            </a:r>
          </a:p>
          <a:p>
            <a:pPr marL="285750" lvl="0" indent="-285750">
              <a:buFont typeface="Arial" panose="020B0604020202020204" pitchFamily="34" charset="0"/>
              <a:buChar char="•"/>
            </a:pPr>
            <a:r>
              <a:rPr lang="en-AU" sz="1600"/>
              <a:t>Tidak memiliki feature khusus audit</a:t>
            </a:r>
            <a:endParaRPr lang="en-AU" sz="1600" dirty="0"/>
          </a:p>
        </p:txBody>
      </p:sp>
      <p:sp>
        <p:nvSpPr>
          <p:cNvPr id="7" name="Rectangle 6">
            <a:extLst>
              <a:ext uri="{FF2B5EF4-FFF2-40B4-BE49-F238E27FC236}">
                <a16:creationId xmlns:a16="http://schemas.microsoft.com/office/drawing/2014/main" id="{0B3D04AA-A8FE-4188-B800-8860170122C9}"/>
              </a:ext>
            </a:extLst>
          </p:cNvPr>
          <p:cNvSpPr/>
          <p:nvPr/>
        </p:nvSpPr>
        <p:spPr>
          <a:xfrm>
            <a:off x="1369078" y="1314255"/>
            <a:ext cx="2265583" cy="1579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11213" lvl="0" algn="ctr"/>
            <a:r>
              <a:rPr lang="en-AU" sz="1600"/>
              <a:t>EXCEL</a:t>
            </a:r>
          </a:p>
        </p:txBody>
      </p:sp>
      <p:sp>
        <p:nvSpPr>
          <p:cNvPr id="8" name="Rectangle 7">
            <a:extLst>
              <a:ext uri="{FF2B5EF4-FFF2-40B4-BE49-F238E27FC236}">
                <a16:creationId xmlns:a16="http://schemas.microsoft.com/office/drawing/2014/main" id="{A2228E84-AB3A-4025-A2C8-4B8A9E613B61}"/>
              </a:ext>
            </a:extLst>
          </p:cNvPr>
          <p:cNvSpPr/>
          <p:nvPr/>
        </p:nvSpPr>
        <p:spPr>
          <a:xfrm>
            <a:off x="1369078" y="3037439"/>
            <a:ext cx="2265583" cy="153147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15963" algn="ctr"/>
            <a:r>
              <a:rPr lang="en-AU" sz="1600"/>
              <a:t>Generalized Audit </a:t>
            </a:r>
          </a:p>
          <a:p>
            <a:pPr marL="715963" algn="ctr"/>
            <a:r>
              <a:rPr lang="en-AU" sz="1600"/>
              <a:t>Software</a:t>
            </a:r>
          </a:p>
          <a:p>
            <a:pPr lvl="0" algn="ctr"/>
            <a:endParaRPr lang="en-AU" sz="1600" dirty="0"/>
          </a:p>
        </p:txBody>
      </p:sp>
      <p:sp>
        <p:nvSpPr>
          <p:cNvPr id="9" name="Rectangle 8">
            <a:extLst>
              <a:ext uri="{FF2B5EF4-FFF2-40B4-BE49-F238E27FC236}">
                <a16:creationId xmlns:a16="http://schemas.microsoft.com/office/drawing/2014/main" id="{20B608F2-4027-44BC-AB39-40983156E589}"/>
              </a:ext>
            </a:extLst>
          </p:cNvPr>
          <p:cNvSpPr/>
          <p:nvPr/>
        </p:nvSpPr>
        <p:spPr>
          <a:xfrm>
            <a:off x="1369078" y="4694979"/>
            <a:ext cx="2265583" cy="1507858"/>
          </a:xfrm>
          <a:prstGeom prst="rect">
            <a:avLst/>
          </a:prstGeom>
          <a:solidFill>
            <a:srgbClr val="63A5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1825" lvl="0" algn="ctr"/>
            <a:r>
              <a:rPr lang="en-AU" sz="1600"/>
              <a:t>DATABASE QUERY</a:t>
            </a:r>
            <a:endParaRPr lang="en-AU" sz="1600" dirty="0"/>
          </a:p>
        </p:txBody>
      </p:sp>
      <p:sp>
        <p:nvSpPr>
          <p:cNvPr id="16" name="Oval 15"/>
          <p:cNvSpPr/>
          <p:nvPr/>
        </p:nvSpPr>
        <p:spPr>
          <a:xfrm>
            <a:off x="567798" y="1476872"/>
            <a:ext cx="1602557" cy="1253765"/>
          </a:xfrm>
          <a:prstGeom prst="ellipse">
            <a:avLst/>
          </a:prstGeom>
          <a:solidFill>
            <a:srgbClr val="EF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7" name="Oval 16"/>
          <p:cNvSpPr/>
          <p:nvPr/>
        </p:nvSpPr>
        <p:spPr>
          <a:xfrm>
            <a:off x="624360" y="3184604"/>
            <a:ext cx="1602557" cy="1253765"/>
          </a:xfrm>
          <a:prstGeom prst="ellipse">
            <a:avLst/>
          </a:prstGeom>
          <a:solidFill>
            <a:srgbClr val="EF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Oval 17"/>
          <p:cNvSpPr/>
          <p:nvPr/>
        </p:nvSpPr>
        <p:spPr>
          <a:xfrm>
            <a:off x="567799" y="4851958"/>
            <a:ext cx="1602557" cy="1253765"/>
          </a:xfrm>
          <a:prstGeom prst="ellipse">
            <a:avLst/>
          </a:prstGeom>
          <a:solidFill>
            <a:srgbClr val="EF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026" name="Picture 2" descr="https://cdn-icons-png.flaticon.com/512/732/73222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8428" y="1682353"/>
            <a:ext cx="842802" cy="84280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a:blip r:embed="rId3"/>
          <a:stretch>
            <a:fillRect/>
          </a:stretch>
        </p:blipFill>
        <p:spPr>
          <a:xfrm>
            <a:off x="825743" y="3458349"/>
            <a:ext cx="1086666" cy="782400"/>
          </a:xfrm>
          <a:prstGeom prst="rect">
            <a:avLst/>
          </a:prstGeom>
        </p:spPr>
      </p:pic>
      <p:pic>
        <p:nvPicPr>
          <p:cNvPr id="1030" name="Picture 6" descr="https://cdn-icons-png.flaticon.com/512/4492/449231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3791" y="4982684"/>
            <a:ext cx="950569" cy="950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858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A1A0F4-A345-4B79-ACA5-05FCEB0F04D9}"/>
              </a:ext>
            </a:extLst>
          </p:cNvPr>
          <p:cNvSpPr/>
          <p:nvPr/>
        </p:nvSpPr>
        <p:spPr>
          <a:xfrm>
            <a:off x="1206631" y="1676064"/>
            <a:ext cx="4726233" cy="4420468"/>
          </a:xfrm>
          <a:prstGeom prst="rect">
            <a:avLst/>
          </a:prstGeom>
          <a:solidFill>
            <a:srgbClr val="003465">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 Placeholder 6">
            <a:extLst>
              <a:ext uri="{FF2B5EF4-FFF2-40B4-BE49-F238E27FC236}">
                <a16:creationId xmlns:a16="http://schemas.microsoft.com/office/drawing/2014/main" id="{D9B690EC-2FEE-4316-A8F2-7726F49B6465}"/>
              </a:ext>
            </a:extLst>
          </p:cNvPr>
          <p:cNvSpPr>
            <a:spLocks noGrp="1"/>
          </p:cNvSpPr>
          <p:nvPr>
            <p:ph type="body" idx="3"/>
          </p:nvPr>
        </p:nvSpPr>
        <p:spPr>
          <a:xfrm>
            <a:off x="6238188" y="3522548"/>
            <a:ext cx="5183188" cy="823912"/>
          </a:xfrm>
        </p:spPr>
        <p:txBody>
          <a:bodyPr>
            <a:normAutofit/>
          </a:bodyPr>
          <a:lstStyle/>
          <a:p>
            <a:r>
              <a:rPr lang="en-US" sz="4000" dirty="0"/>
              <a:t>Data Analytic</a:t>
            </a:r>
            <a:endParaRPr lang="en-ID" dirty="0"/>
          </a:p>
        </p:txBody>
      </p:sp>
      <p:pic>
        <p:nvPicPr>
          <p:cNvPr id="9" name="Picture Placeholder 5">
            <a:extLst>
              <a:ext uri="{FF2B5EF4-FFF2-40B4-BE49-F238E27FC236}">
                <a16:creationId xmlns:a16="http://schemas.microsoft.com/office/drawing/2014/main" id="{A477ADE3-EB05-481F-8D6B-6A70718BB778}"/>
              </a:ext>
            </a:extLst>
          </p:cNvPr>
          <p:cNvPicPr>
            <a:picLocks noChangeAspect="1"/>
          </p:cNvPicPr>
          <p:nvPr/>
        </p:nvPicPr>
        <p:blipFill>
          <a:blip r:embed="rId2">
            <a:extLst>
              <a:ext uri="{BEBA8EAE-BF5A-486C-A8C5-ECC9F3942E4B}">
                <a14:imgProps xmlns:a14="http://schemas.microsoft.com/office/drawing/2010/main">
                  <a14:imgLayer r:embed="rId3">
                    <a14:imgEffect>
                      <a14:saturation sat="92000"/>
                    </a14:imgEffect>
                  </a14:imgLayer>
                </a14:imgProps>
              </a:ext>
            </a:extLst>
          </a:blip>
          <a:srcRect t="18408" b="18408"/>
          <a:stretch>
            <a:fillRect/>
          </a:stretch>
        </p:blipFill>
        <p:spPr>
          <a:xfrm>
            <a:off x="0" y="1496836"/>
            <a:ext cx="4572000" cy="4778923"/>
          </a:xfrm>
          <a:prstGeom prst="rect">
            <a:avLst/>
          </a:prstGeom>
        </p:spPr>
      </p:pic>
    </p:spTree>
    <p:extLst>
      <p:ext uri="{BB962C8B-B14F-4D97-AF65-F5344CB8AC3E}">
        <p14:creationId xmlns:p14="http://schemas.microsoft.com/office/powerpoint/2010/main" val="1488699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1049" y="130136"/>
            <a:ext cx="9100654" cy="898576"/>
          </a:xfrm>
        </p:spPr>
        <p:txBody>
          <a:bodyPr/>
          <a:lstStyle/>
          <a:p>
            <a:pPr marL="12700">
              <a:spcBef>
                <a:spcPts val="100"/>
              </a:spcBef>
            </a:pPr>
            <a:r>
              <a:rPr lang="en-AU" dirty="0" err="1"/>
              <a:t>Metode</a:t>
            </a:r>
            <a:r>
              <a:rPr lang="en-AU" dirty="0"/>
              <a:t> </a:t>
            </a:r>
            <a:r>
              <a:rPr lang="en-AU" dirty="0" err="1"/>
              <a:t>Akses</a:t>
            </a:r>
            <a:r>
              <a:rPr lang="en-AU" dirty="0"/>
              <a:t> Data</a:t>
            </a:r>
            <a:endParaRPr lang="en-AU" kern="0" spc="-5" dirty="0"/>
          </a:p>
        </p:txBody>
      </p:sp>
      <p:grpSp>
        <p:nvGrpSpPr>
          <p:cNvPr id="3" name="Group 2">
            <a:extLst>
              <a:ext uri="{FF2B5EF4-FFF2-40B4-BE49-F238E27FC236}">
                <a16:creationId xmlns:a16="http://schemas.microsoft.com/office/drawing/2014/main" id="{07B92593-75E0-66ED-DDC7-59CCF18E4EBC}"/>
              </a:ext>
            </a:extLst>
          </p:cNvPr>
          <p:cNvGrpSpPr/>
          <p:nvPr/>
        </p:nvGrpSpPr>
        <p:grpSpPr>
          <a:xfrm>
            <a:off x="1298064" y="1858759"/>
            <a:ext cx="9791708" cy="3095320"/>
            <a:chOff x="1128949" y="576162"/>
            <a:chExt cx="9791708" cy="3095320"/>
          </a:xfrm>
        </p:grpSpPr>
        <p:grpSp>
          <p:nvGrpSpPr>
            <p:cNvPr id="10" name="Group 9">
              <a:extLst>
                <a:ext uri="{FF2B5EF4-FFF2-40B4-BE49-F238E27FC236}">
                  <a16:creationId xmlns:a16="http://schemas.microsoft.com/office/drawing/2014/main" id="{27E3089A-5A56-14BD-B532-3B3BB711EFFD}"/>
                </a:ext>
              </a:extLst>
            </p:cNvPr>
            <p:cNvGrpSpPr/>
            <p:nvPr/>
          </p:nvGrpSpPr>
          <p:grpSpPr>
            <a:xfrm>
              <a:off x="1128949" y="1334665"/>
              <a:ext cx="9791708" cy="2336817"/>
              <a:chOff x="1159429" y="1172105"/>
              <a:chExt cx="9791708" cy="2336817"/>
            </a:xfrm>
          </p:grpSpPr>
          <p:sp>
            <p:nvSpPr>
              <p:cNvPr id="12" name="Flowchart: Magnetic Disk 11">
                <a:extLst>
                  <a:ext uri="{FF2B5EF4-FFF2-40B4-BE49-F238E27FC236}">
                    <a16:creationId xmlns:a16="http://schemas.microsoft.com/office/drawing/2014/main" id="{25F40090-04C0-989A-A837-9967A5FBCD30}"/>
                  </a:ext>
                </a:extLst>
              </p:cNvPr>
              <p:cNvSpPr/>
              <p:nvPr/>
            </p:nvSpPr>
            <p:spPr>
              <a:xfrm>
                <a:off x="1159429" y="1172105"/>
                <a:ext cx="1469479" cy="1816699"/>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TextBox 12">
                <a:extLst>
                  <a:ext uri="{FF2B5EF4-FFF2-40B4-BE49-F238E27FC236}">
                    <a16:creationId xmlns:a16="http://schemas.microsoft.com/office/drawing/2014/main" id="{5C759337-F25D-E080-F0F4-9E949FED75AA}"/>
                  </a:ext>
                </a:extLst>
              </p:cNvPr>
              <p:cNvSpPr txBox="1"/>
              <p:nvPr/>
            </p:nvSpPr>
            <p:spPr>
              <a:xfrm>
                <a:off x="1405682" y="1945060"/>
                <a:ext cx="976972" cy="646331"/>
              </a:xfrm>
              <a:prstGeom prst="rect">
                <a:avLst/>
              </a:prstGeom>
              <a:noFill/>
            </p:spPr>
            <p:txBody>
              <a:bodyPr wrap="square" rtlCol="0">
                <a:spAutoFit/>
              </a:bodyPr>
              <a:lstStyle/>
              <a:p>
                <a:pPr algn="ctr"/>
                <a:r>
                  <a:rPr lang="en-US">
                    <a:solidFill>
                      <a:schemeClr val="bg1"/>
                    </a:solidFill>
                  </a:rPr>
                  <a:t>RDBMS</a:t>
                </a:r>
              </a:p>
              <a:p>
                <a:pPr algn="ctr"/>
                <a:r>
                  <a:rPr lang="en-US">
                    <a:solidFill>
                      <a:schemeClr val="bg1"/>
                    </a:solidFill>
                  </a:rPr>
                  <a:t>Server</a:t>
                </a:r>
                <a:endParaRPr lang="en-ID">
                  <a:solidFill>
                    <a:schemeClr val="bg1"/>
                  </a:solidFill>
                </a:endParaRPr>
              </a:p>
            </p:txBody>
          </p:sp>
          <p:sp>
            <p:nvSpPr>
              <p:cNvPr id="14" name="TextBox 13">
                <a:extLst>
                  <a:ext uri="{FF2B5EF4-FFF2-40B4-BE49-F238E27FC236}">
                    <a16:creationId xmlns:a16="http://schemas.microsoft.com/office/drawing/2014/main" id="{C8B884E1-B1E7-BA44-E088-FC61DE0BB5C5}"/>
                  </a:ext>
                </a:extLst>
              </p:cNvPr>
              <p:cNvSpPr txBox="1"/>
              <p:nvPr/>
            </p:nvSpPr>
            <p:spPr>
              <a:xfrm>
                <a:off x="1410702" y="2988804"/>
                <a:ext cx="966931" cy="369332"/>
              </a:xfrm>
              <a:prstGeom prst="rect">
                <a:avLst/>
              </a:prstGeom>
              <a:noFill/>
            </p:spPr>
            <p:txBody>
              <a:bodyPr wrap="none" rtlCol="0">
                <a:spAutoFit/>
              </a:bodyPr>
              <a:lstStyle/>
              <a:p>
                <a:r>
                  <a:rPr lang="en-US" sz="1800" dirty="0"/>
                  <a:t>Auditee</a:t>
                </a:r>
              </a:p>
            </p:txBody>
          </p:sp>
          <p:cxnSp>
            <p:nvCxnSpPr>
              <p:cNvPr id="15" name="Straight Arrow Connector 14">
                <a:extLst>
                  <a:ext uri="{FF2B5EF4-FFF2-40B4-BE49-F238E27FC236}">
                    <a16:creationId xmlns:a16="http://schemas.microsoft.com/office/drawing/2014/main" id="{646537E0-1373-46EF-70FF-17FBEC21C20D}"/>
                  </a:ext>
                </a:extLst>
              </p:cNvPr>
              <p:cNvCxnSpPr/>
              <p:nvPr/>
            </p:nvCxnSpPr>
            <p:spPr>
              <a:xfrm>
                <a:off x="2728407" y="2127899"/>
                <a:ext cx="1395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15CF9A6-C163-E171-65C2-8E59A840E0DD}"/>
                  </a:ext>
                </a:extLst>
              </p:cNvPr>
              <p:cNvSpPr txBox="1"/>
              <p:nvPr/>
            </p:nvSpPr>
            <p:spPr>
              <a:xfrm>
                <a:off x="3936057" y="2679678"/>
                <a:ext cx="1285801" cy="369332"/>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r>
                  <a:rPr lang="en-US" dirty="0"/>
                  <a:t>Export Data</a:t>
                </a:r>
              </a:p>
            </p:txBody>
          </p:sp>
          <p:cxnSp>
            <p:nvCxnSpPr>
              <p:cNvPr id="21" name="Straight Arrow Connector 20">
                <a:extLst>
                  <a:ext uri="{FF2B5EF4-FFF2-40B4-BE49-F238E27FC236}">
                    <a16:creationId xmlns:a16="http://schemas.microsoft.com/office/drawing/2014/main" id="{C9DF49CA-833C-4AA7-BD2A-3482D831F125}"/>
                  </a:ext>
                </a:extLst>
              </p:cNvPr>
              <p:cNvCxnSpPr/>
              <p:nvPr/>
            </p:nvCxnSpPr>
            <p:spPr>
              <a:xfrm>
                <a:off x="5034870" y="2131759"/>
                <a:ext cx="1395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BB47CFF-D217-33FB-9D93-A776A62CA798}"/>
                  </a:ext>
                </a:extLst>
              </p:cNvPr>
              <p:cNvSpPr txBox="1"/>
              <p:nvPr/>
            </p:nvSpPr>
            <p:spPr>
              <a:xfrm>
                <a:off x="6476418" y="2862591"/>
                <a:ext cx="1919756" cy="646331"/>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pPr algn="ctr"/>
                <a:r>
                  <a:rPr lang="en-US" dirty="0"/>
                  <a:t>Restore data </a:t>
                </a:r>
              </a:p>
              <a:p>
                <a:pPr algn="ctr"/>
                <a:r>
                  <a:rPr lang="en-US" dirty="0"/>
                  <a:t>Project ACL / Excel</a:t>
                </a:r>
              </a:p>
            </p:txBody>
          </p:sp>
          <p:sp>
            <p:nvSpPr>
              <p:cNvPr id="23" name="TextBox 22">
                <a:extLst>
                  <a:ext uri="{FF2B5EF4-FFF2-40B4-BE49-F238E27FC236}">
                    <a16:creationId xmlns:a16="http://schemas.microsoft.com/office/drawing/2014/main" id="{33C40CD4-5732-D19F-98AF-23AA6E467AE5}"/>
                  </a:ext>
                </a:extLst>
              </p:cNvPr>
              <p:cNvSpPr txBox="1"/>
              <p:nvPr/>
            </p:nvSpPr>
            <p:spPr>
              <a:xfrm>
                <a:off x="6750918" y="1935538"/>
                <a:ext cx="976972" cy="646331"/>
              </a:xfrm>
              <a:prstGeom prst="rect">
                <a:avLst/>
              </a:prstGeom>
              <a:noFill/>
            </p:spPr>
            <p:txBody>
              <a:bodyPr wrap="square" rtlCol="0">
                <a:spAutoFit/>
              </a:bodyPr>
              <a:lstStyle/>
              <a:p>
                <a:pPr algn="ctr"/>
                <a:r>
                  <a:rPr lang="en-US">
                    <a:solidFill>
                      <a:schemeClr val="bg1"/>
                    </a:solidFill>
                  </a:rPr>
                  <a:t>Laptop Auditor</a:t>
                </a:r>
                <a:endParaRPr lang="en-ID">
                  <a:solidFill>
                    <a:schemeClr val="bg1"/>
                  </a:solidFill>
                </a:endParaRPr>
              </a:p>
            </p:txBody>
          </p:sp>
          <p:cxnSp>
            <p:nvCxnSpPr>
              <p:cNvPr id="24" name="Straight Arrow Connector 23">
                <a:extLst>
                  <a:ext uri="{FF2B5EF4-FFF2-40B4-BE49-F238E27FC236}">
                    <a16:creationId xmlns:a16="http://schemas.microsoft.com/office/drawing/2014/main" id="{706E6FFE-408C-7B75-2637-A0CC37A434B2}"/>
                  </a:ext>
                </a:extLst>
              </p:cNvPr>
              <p:cNvCxnSpPr/>
              <p:nvPr/>
            </p:nvCxnSpPr>
            <p:spPr>
              <a:xfrm flipH="1">
                <a:off x="8220397" y="2113090"/>
                <a:ext cx="1452931" cy="148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Google Shape;4541;p39">
                <a:extLst>
                  <a:ext uri="{FF2B5EF4-FFF2-40B4-BE49-F238E27FC236}">
                    <a16:creationId xmlns:a16="http://schemas.microsoft.com/office/drawing/2014/main" id="{CC6B7473-AE8E-9250-CDC2-2572D3C315F4}"/>
                  </a:ext>
                </a:extLst>
              </p:cNvPr>
              <p:cNvSpPr/>
              <p:nvPr/>
            </p:nvSpPr>
            <p:spPr>
              <a:xfrm>
                <a:off x="9514843" y="1456911"/>
                <a:ext cx="1436294" cy="1341973"/>
              </a:xfrm>
              <a:custGeom>
                <a:avLst/>
                <a:gdLst/>
                <a:ahLst/>
                <a:cxnLst/>
                <a:rect l="l" t="t" r="r" b="b"/>
                <a:pathLst>
                  <a:path w="15290" h="16120" extrusionOk="0">
                    <a:moveTo>
                      <a:pt x="7645" y="1"/>
                    </a:moveTo>
                    <a:lnTo>
                      <a:pt x="7303" y="25"/>
                    </a:lnTo>
                    <a:lnTo>
                      <a:pt x="7010" y="98"/>
                    </a:lnTo>
                    <a:lnTo>
                      <a:pt x="6766" y="172"/>
                    </a:lnTo>
                    <a:lnTo>
                      <a:pt x="6546" y="294"/>
                    </a:lnTo>
                    <a:lnTo>
                      <a:pt x="6351" y="391"/>
                    </a:lnTo>
                    <a:lnTo>
                      <a:pt x="6204" y="538"/>
                    </a:lnTo>
                    <a:lnTo>
                      <a:pt x="6058" y="660"/>
                    </a:lnTo>
                    <a:lnTo>
                      <a:pt x="5960" y="782"/>
                    </a:lnTo>
                    <a:lnTo>
                      <a:pt x="5569" y="856"/>
                    </a:lnTo>
                    <a:lnTo>
                      <a:pt x="5203" y="978"/>
                    </a:lnTo>
                    <a:lnTo>
                      <a:pt x="4885" y="1149"/>
                    </a:lnTo>
                    <a:lnTo>
                      <a:pt x="4617" y="1320"/>
                    </a:lnTo>
                    <a:lnTo>
                      <a:pt x="4372" y="1539"/>
                    </a:lnTo>
                    <a:lnTo>
                      <a:pt x="4177" y="1759"/>
                    </a:lnTo>
                    <a:lnTo>
                      <a:pt x="4030" y="2028"/>
                    </a:lnTo>
                    <a:lnTo>
                      <a:pt x="3908" y="2296"/>
                    </a:lnTo>
                    <a:lnTo>
                      <a:pt x="3811" y="2565"/>
                    </a:lnTo>
                    <a:lnTo>
                      <a:pt x="3737" y="2834"/>
                    </a:lnTo>
                    <a:lnTo>
                      <a:pt x="3689" y="3127"/>
                    </a:lnTo>
                    <a:lnTo>
                      <a:pt x="3640" y="3420"/>
                    </a:lnTo>
                    <a:lnTo>
                      <a:pt x="3640" y="3713"/>
                    </a:lnTo>
                    <a:lnTo>
                      <a:pt x="3640" y="3982"/>
                    </a:lnTo>
                    <a:lnTo>
                      <a:pt x="3689" y="4495"/>
                    </a:lnTo>
                    <a:lnTo>
                      <a:pt x="3689" y="4519"/>
                    </a:lnTo>
                    <a:lnTo>
                      <a:pt x="3566" y="4568"/>
                    </a:lnTo>
                    <a:lnTo>
                      <a:pt x="3469" y="4666"/>
                    </a:lnTo>
                    <a:lnTo>
                      <a:pt x="3395" y="4812"/>
                    </a:lnTo>
                    <a:lnTo>
                      <a:pt x="3322" y="4983"/>
                    </a:lnTo>
                    <a:lnTo>
                      <a:pt x="3273" y="5178"/>
                    </a:lnTo>
                    <a:lnTo>
                      <a:pt x="3249" y="5398"/>
                    </a:lnTo>
                    <a:lnTo>
                      <a:pt x="3224" y="5642"/>
                    </a:lnTo>
                    <a:lnTo>
                      <a:pt x="3249" y="5887"/>
                    </a:lnTo>
                    <a:lnTo>
                      <a:pt x="3298" y="6155"/>
                    </a:lnTo>
                    <a:lnTo>
                      <a:pt x="3347" y="6400"/>
                    </a:lnTo>
                    <a:lnTo>
                      <a:pt x="3444" y="6619"/>
                    </a:lnTo>
                    <a:lnTo>
                      <a:pt x="3542" y="6790"/>
                    </a:lnTo>
                    <a:lnTo>
                      <a:pt x="3640" y="6961"/>
                    </a:lnTo>
                    <a:lnTo>
                      <a:pt x="3762" y="7059"/>
                    </a:lnTo>
                    <a:lnTo>
                      <a:pt x="3884" y="7132"/>
                    </a:lnTo>
                    <a:lnTo>
                      <a:pt x="4030" y="7132"/>
                    </a:lnTo>
                    <a:lnTo>
                      <a:pt x="4104" y="7108"/>
                    </a:lnTo>
                    <a:lnTo>
                      <a:pt x="4275" y="7523"/>
                    </a:lnTo>
                    <a:lnTo>
                      <a:pt x="4494" y="7889"/>
                    </a:lnTo>
                    <a:lnTo>
                      <a:pt x="4714" y="8256"/>
                    </a:lnTo>
                    <a:lnTo>
                      <a:pt x="4983" y="8598"/>
                    </a:lnTo>
                    <a:lnTo>
                      <a:pt x="5252" y="8891"/>
                    </a:lnTo>
                    <a:lnTo>
                      <a:pt x="5545" y="9159"/>
                    </a:lnTo>
                    <a:lnTo>
                      <a:pt x="5862" y="9404"/>
                    </a:lnTo>
                    <a:lnTo>
                      <a:pt x="6180" y="9623"/>
                    </a:lnTo>
                    <a:lnTo>
                      <a:pt x="6180" y="10698"/>
                    </a:lnTo>
                    <a:lnTo>
                      <a:pt x="5667" y="10747"/>
                    </a:lnTo>
                    <a:lnTo>
                      <a:pt x="5081" y="10845"/>
                    </a:lnTo>
                    <a:lnTo>
                      <a:pt x="4519" y="10967"/>
                    </a:lnTo>
                    <a:lnTo>
                      <a:pt x="3957" y="11089"/>
                    </a:lnTo>
                    <a:lnTo>
                      <a:pt x="3420" y="11260"/>
                    </a:lnTo>
                    <a:lnTo>
                      <a:pt x="2931" y="11455"/>
                    </a:lnTo>
                    <a:lnTo>
                      <a:pt x="2467" y="11675"/>
                    </a:lnTo>
                    <a:lnTo>
                      <a:pt x="2028" y="11919"/>
                    </a:lnTo>
                    <a:lnTo>
                      <a:pt x="1637" y="12188"/>
                    </a:lnTo>
                    <a:lnTo>
                      <a:pt x="1271" y="12456"/>
                    </a:lnTo>
                    <a:lnTo>
                      <a:pt x="953" y="12774"/>
                    </a:lnTo>
                    <a:lnTo>
                      <a:pt x="684" y="13116"/>
                    </a:lnTo>
                    <a:lnTo>
                      <a:pt x="440" y="13458"/>
                    </a:lnTo>
                    <a:lnTo>
                      <a:pt x="269" y="13849"/>
                    </a:lnTo>
                    <a:lnTo>
                      <a:pt x="123" y="14239"/>
                    </a:lnTo>
                    <a:lnTo>
                      <a:pt x="49" y="14679"/>
                    </a:lnTo>
                    <a:lnTo>
                      <a:pt x="1" y="15119"/>
                    </a:lnTo>
                    <a:lnTo>
                      <a:pt x="49" y="15167"/>
                    </a:lnTo>
                    <a:lnTo>
                      <a:pt x="245" y="15265"/>
                    </a:lnTo>
                    <a:lnTo>
                      <a:pt x="416" y="15338"/>
                    </a:lnTo>
                    <a:lnTo>
                      <a:pt x="636" y="15436"/>
                    </a:lnTo>
                    <a:lnTo>
                      <a:pt x="904" y="15534"/>
                    </a:lnTo>
                    <a:lnTo>
                      <a:pt x="1271" y="15607"/>
                    </a:lnTo>
                    <a:lnTo>
                      <a:pt x="1710" y="15705"/>
                    </a:lnTo>
                    <a:lnTo>
                      <a:pt x="2223" y="15802"/>
                    </a:lnTo>
                    <a:lnTo>
                      <a:pt x="2834" y="15876"/>
                    </a:lnTo>
                    <a:lnTo>
                      <a:pt x="3566" y="15973"/>
                    </a:lnTo>
                    <a:lnTo>
                      <a:pt x="4397" y="16022"/>
                    </a:lnTo>
                    <a:lnTo>
                      <a:pt x="5325" y="16071"/>
                    </a:lnTo>
                    <a:lnTo>
                      <a:pt x="6399" y="16096"/>
                    </a:lnTo>
                    <a:lnTo>
                      <a:pt x="7621" y="16120"/>
                    </a:lnTo>
                    <a:lnTo>
                      <a:pt x="8817" y="16096"/>
                    </a:lnTo>
                    <a:lnTo>
                      <a:pt x="9892" y="16071"/>
                    </a:lnTo>
                    <a:lnTo>
                      <a:pt x="10844" y="16022"/>
                    </a:lnTo>
                    <a:lnTo>
                      <a:pt x="11675" y="15973"/>
                    </a:lnTo>
                    <a:lnTo>
                      <a:pt x="12408" y="15876"/>
                    </a:lnTo>
                    <a:lnTo>
                      <a:pt x="13018" y="15802"/>
                    </a:lnTo>
                    <a:lnTo>
                      <a:pt x="13555" y="15705"/>
                    </a:lnTo>
                    <a:lnTo>
                      <a:pt x="13995" y="15607"/>
                    </a:lnTo>
                    <a:lnTo>
                      <a:pt x="14361" y="15534"/>
                    </a:lnTo>
                    <a:lnTo>
                      <a:pt x="14654" y="15436"/>
                    </a:lnTo>
                    <a:lnTo>
                      <a:pt x="14874" y="15338"/>
                    </a:lnTo>
                    <a:lnTo>
                      <a:pt x="15045" y="15265"/>
                    </a:lnTo>
                    <a:lnTo>
                      <a:pt x="15216" y="15167"/>
                    </a:lnTo>
                    <a:lnTo>
                      <a:pt x="15289" y="15119"/>
                    </a:lnTo>
                    <a:lnTo>
                      <a:pt x="15241" y="14655"/>
                    </a:lnTo>
                    <a:lnTo>
                      <a:pt x="15167" y="14215"/>
                    </a:lnTo>
                    <a:lnTo>
                      <a:pt x="15045" y="13800"/>
                    </a:lnTo>
                    <a:lnTo>
                      <a:pt x="14874" y="13409"/>
                    </a:lnTo>
                    <a:lnTo>
                      <a:pt x="14630" y="13043"/>
                    </a:lnTo>
                    <a:lnTo>
                      <a:pt x="14361" y="12701"/>
                    </a:lnTo>
                    <a:lnTo>
                      <a:pt x="14044" y="12408"/>
                    </a:lnTo>
                    <a:lnTo>
                      <a:pt x="13678" y="12115"/>
                    </a:lnTo>
                    <a:lnTo>
                      <a:pt x="13287" y="11846"/>
                    </a:lnTo>
                    <a:lnTo>
                      <a:pt x="12847" y="11626"/>
                    </a:lnTo>
                    <a:lnTo>
                      <a:pt x="12359" y="11406"/>
                    </a:lnTo>
                    <a:lnTo>
                      <a:pt x="11846" y="11235"/>
                    </a:lnTo>
                    <a:lnTo>
                      <a:pt x="11284" y="11064"/>
                    </a:lnTo>
                    <a:lnTo>
                      <a:pt x="10698" y="10942"/>
                    </a:lnTo>
                    <a:lnTo>
                      <a:pt x="10063" y="10820"/>
                    </a:lnTo>
                    <a:lnTo>
                      <a:pt x="9428" y="10747"/>
                    </a:lnTo>
                    <a:lnTo>
                      <a:pt x="9110" y="10722"/>
                    </a:lnTo>
                    <a:lnTo>
                      <a:pt x="9110" y="9623"/>
                    </a:lnTo>
                    <a:lnTo>
                      <a:pt x="9428" y="9404"/>
                    </a:lnTo>
                    <a:lnTo>
                      <a:pt x="9745" y="9159"/>
                    </a:lnTo>
                    <a:lnTo>
                      <a:pt x="10039" y="8891"/>
                    </a:lnTo>
                    <a:lnTo>
                      <a:pt x="10332" y="8598"/>
                    </a:lnTo>
                    <a:lnTo>
                      <a:pt x="10576" y="8256"/>
                    </a:lnTo>
                    <a:lnTo>
                      <a:pt x="10796" y="7889"/>
                    </a:lnTo>
                    <a:lnTo>
                      <a:pt x="11015" y="7523"/>
                    </a:lnTo>
                    <a:lnTo>
                      <a:pt x="11186" y="7108"/>
                    </a:lnTo>
                    <a:lnTo>
                      <a:pt x="11260" y="7132"/>
                    </a:lnTo>
                    <a:lnTo>
                      <a:pt x="11406" y="7132"/>
                    </a:lnTo>
                    <a:lnTo>
                      <a:pt x="11528" y="7059"/>
                    </a:lnTo>
                    <a:lnTo>
                      <a:pt x="11650" y="6961"/>
                    </a:lnTo>
                    <a:lnTo>
                      <a:pt x="11748" y="6790"/>
                    </a:lnTo>
                    <a:lnTo>
                      <a:pt x="11846" y="6619"/>
                    </a:lnTo>
                    <a:lnTo>
                      <a:pt x="11944" y="6400"/>
                    </a:lnTo>
                    <a:lnTo>
                      <a:pt x="11992" y="6155"/>
                    </a:lnTo>
                    <a:lnTo>
                      <a:pt x="12041" y="5887"/>
                    </a:lnTo>
                    <a:lnTo>
                      <a:pt x="12066" y="5642"/>
                    </a:lnTo>
                    <a:lnTo>
                      <a:pt x="12041" y="5398"/>
                    </a:lnTo>
                    <a:lnTo>
                      <a:pt x="12017" y="5203"/>
                    </a:lnTo>
                    <a:lnTo>
                      <a:pt x="11968" y="5007"/>
                    </a:lnTo>
                    <a:lnTo>
                      <a:pt x="11919" y="4836"/>
                    </a:lnTo>
                    <a:lnTo>
                      <a:pt x="11846" y="4690"/>
                    </a:lnTo>
                    <a:lnTo>
                      <a:pt x="11748" y="4592"/>
                    </a:lnTo>
                    <a:lnTo>
                      <a:pt x="11626" y="4519"/>
                    </a:lnTo>
                    <a:lnTo>
                      <a:pt x="11699" y="4153"/>
                    </a:lnTo>
                    <a:lnTo>
                      <a:pt x="11724" y="3811"/>
                    </a:lnTo>
                    <a:lnTo>
                      <a:pt x="11724" y="3493"/>
                    </a:lnTo>
                    <a:lnTo>
                      <a:pt x="11724" y="3200"/>
                    </a:lnTo>
                    <a:lnTo>
                      <a:pt x="11699" y="2907"/>
                    </a:lnTo>
                    <a:lnTo>
                      <a:pt x="11650" y="2638"/>
                    </a:lnTo>
                    <a:lnTo>
                      <a:pt x="11577" y="2394"/>
                    </a:lnTo>
                    <a:lnTo>
                      <a:pt x="11504" y="2150"/>
                    </a:lnTo>
                    <a:lnTo>
                      <a:pt x="11406" y="1930"/>
                    </a:lnTo>
                    <a:lnTo>
                      <a:pt x="11309" y="1710"/>
                    </a:lnTo>
                    <a:lnTo>
                      <a:pt x="11186" y="1515"/>
                    </a:lnTo>
                    <a:lnTo>
                      <a:pt x="11040" y="1344"/>
                    </a:lnTo>
                    <a:lnTo>
                      <a:pt x="10893" y="1173"/>
                    </a:lnTo>
                    <a:lnTo>
                      <a:pt x="10747" y="1026"/>
                    </a:lnTo>
                    <a:lnTo>
                      <a:pt x="10429" y="758"/>
                    </a:lnTo>
                    <a:lnTo>
                      <a:pt x="10063" y="562"/>
                    </a:lnTo>
                    <a:lnTo>
                      <a:pt x="9697" y="367"/>
                    </a:lnTo>
                    <a:lnTo>
                      <a:pt x="9330" y="245"/>
                    </a:lnTo>
                    <a:lnTo>
                      <a:pt x="8964" y="147"/>
                    </a:lnTo>
                    <a:lnTo>
                      <a:pt x="8598" y="74"/>
                    </a:lnTo>
                    <a:lnTo>
                      <a:pt x="8256" y="25"/>
                    </a:lnTo>
                    <a:lnTo>
                      <a:pt x="793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dk1"/>
                  </a:solidFill>
                </a:endParaRPr>
              </a:p>
            </p:txBody>
          </p:sp>
          <p:sp>
            <p:nvSpPr>
              <p:cNvPr id="26" name="TextBox 25">
                <a:extLst>
                  <a:ext uri="{FF2B5EF4-FFF2-40B4-BE49-F238E27FC236}">
                    <a16:creationId xmlns:a16="http://schemas.microsoft.com/office/drawing/2014/main" id="{D7C02597-4CA6-DD0D-FFC3-7C880730006B}"/>
                  </a:ext>
                </a:extLst>
              </p:cNvPr>
              <p:cNvSpPr txBox="1"/>
              <p:nvPr/>
            </p:nvSpPr>
            <p:spPr>
              <a:xfrm>
                <a:off x="9787515" y="2881668"/>
                <a:ext cx="890950" cy="369332"/>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r>
                  <a:rPr lang="en-US" dirty="0"/>
                  <a:t>Auditor</a:t>
                </a:r>
              </a:p>
            </p:txBody>
          </p:sp>
          <p:pic>
            <p:nvPicPr>
              <p:cNvPr id="27" name="Picture 26">
                <a:extLst>
                  <a:ext uri="{FF2B5EF4-FFF2-40B4-BE49-F238E27FC236}">
                    <a16:creationId xmlns:a16="http://schemas.microsoft.com/office/drawing/2014/main" id="{78406F61-FABA-172B-FD31-2CDEDA8884AD}"/>
                  </a:ext>
                </a:extLst>
              </p:cNvPr>
              <p:cNvPicPr>
                <a:picLocks noChangeAspect="1"/>
              </p:cNvPicPr>
              <p:nvPr/>
            </p:nvPicPr>
            <p:blipFill>
              <a:blip r:embed="rId2"/>
              <a:stretch>
                <a:fillRect/>
              </a:stretch>
            </p:blipFill>
            <p:spPr>
              <a:xfrm>
                <a:off x="6504665" y="1686186"/>
                <a:ext cx="1623242" cy="1164078"/>
              </a:xfrm>
              <a:prstGeom prst="rect">
                <a:avLst/>
              </a:prstGeom>
            </p:spPr>
          </p:pic>
          <p:pic>
            <p:nvPicPr>
              <p:cNvPr id="28" name="Picture 6" descr="ACL Services Ltd Logo Vector (.SVG) Free Download">
                <a:extLst>
                  <a:ext uri="{FF2B5EF4-FFF2-40B4-BE49-F238E27FC236}">
                    <a16:creationId xmlns:a16="http://schemas.microsoft.com/office/drawing/2014/main" id="{AF16B666-414B-5884-765E-9B9920BAC19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83575" y="1854600"/>
                <a:ext cx="1105443" cy="622733"/>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Folded Corner 28">
                <a:extLst>
                  <a:ext uri="{FF2B5EF4-FFF2-40B4-BE49-F238E27FC236}">
                    <a16:creationId xmlns:a16="http://schemas.microsoft.com/office/drawing/2014/main" id="{EA853D41-EB2F-7C72-50F0-1AF7C823F150}"/>
                  </a:ext>
                </a:extLst>
              </p:cNvPr>
              <p:cNvSpPr/>
              <p:nvPr/>
            </p:nvSpPr>
            <p:spPr>
              <a:xfrm>
                <a:off x="4223910" y="1680923"/>
                <a:ext cx="710097" cy="864334"/>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1" name="TextBox 10">
              <a:extLst>
                <a:ext uri="{FF2B5EF4-FFF2-40B4-BE49-F238E27FC236}">
                  <a16:creationId xmlns:a16="http://schemas.microsoft.com/office/drawing/2014/main" id="{869E21C3-E550-45B2-971E-40DF6A244494}"/>
                </a:ext>
              </a:extLst>
            </p:cNvPr>
            <p:cNvSpPr txBox="1"/>
            <p:nvPr/>
          </p:nvSpPr>
          <p:spPr>
            <a:xfrm>
              <a:off x="5255456" y="576162"/>
              <a:ext cx="1894885" cy="369332"/>
            </a:xfrm>
            <a:prstGeom prst="rect">
              <a:avLst/>
            </a:prstGeom>
            <a:noFill/>
          </p:spPr>
          <p:txBody>
            <a:bodyPr wrap="square" rtlCol="0">
              <a:spAutoFit/>
            </a:bodyPr>
            <a:lstStyle/>
            <a:p>
              <a:r>
                <a:rPr lang="en-US" sz="1800" b="1" dirty="0">
                  <a:latin typeface="Barlow Light" panose="00000400000000000000" pitchFamily="2" charset="0"/>
                </a:rPr>
                <a:t>Via GAS / Excel</a:t>
              </a:r>
              <a:endParaRPr lang="en-ID" sz="1800" b="1" dirty="0">
                <a:latin typeface="Barlow Light" panose="00000400000000000000" pitchFamily="2" charset="0"/>
              </a:endParaRPr>
            </a:p>
          </p:txBody>
        </p:sp>
      </p:grpSp>
    </p:spTree>
    <p:extLst>
      <p:ext uri="{BB962C8B-B14F-4D97-AF65-F5344CB8AC3E}">
        <p14:creationId xmlns:p14="http://schemas.microsoft.com/office/powerpoint/2010/main" val="11849967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DA4FDD0-F2D7-4261-8E6B-0057CBAD438B}"/>
              </a:ext>
            </a:extLst>
          </p:cNvPr>
          <p:cNvGrpSpPr/>
          <p:nvPr/>
        </p:nvGrpSpPr>
        <p:grpSpPr>
          <a:xfrm>
            <a:off x="2157746" y="965712"/>
            <a:ext cx="8127260" cy="2898855"/>
            <a:chOff x="1225684" y="2684443"/>
            <a:chExt cx="8127260" cy="2898855"/>
          </a:xfrm>
        </p:grpSpPr>
        <p:sp>
          <p:nvSpPr>
            <p:cNvPr id="5" name="Flowchart: Magnetic Disk 4">
              <a:extLst>
                <a:ext uri="{FF2B5EF4-FFF2-40B4-BE49-F238E27FC236}">
                  <a16:creationId xmlns:a16="http://schemas.microsoft.com/office/drawing/2014/main" id="{9947DE25-B9D5-466B-806F-0BC6CD6DE4C5}"/>
                </a:ext>
              </a:extLst>
            </p:cNvPr>
            <p:cNvSpPr/>
            <p:nvPr/>
          </p:nvSpPr>
          <p:spPr>
            <a:xfrm>
              <a:off x="1225684" y="3351127"/>
              <a:ext cx="1469479" cy="1816699"/>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TextBox 15">
              <a:extLst>
                <a:ext uri="{FF2B5EF4-FFF2-40B4-BE49-F238E27FC236}">
                  <a16:creationId xmlns:a16="http://schemas.microsoft.com/office/drawing/2014/main" id="{2FB128E0-F290-4EBC-B1E6-07AD94E27C7D}"/>
                </a:ext>
              </a:extLst>
            </p:cNvPr>
            <p:cNvSpPr txBox="1"/>
            <p:nvPr/>
          </p:nvSpPr>
          <p:spPr>
            <a:xfrm>
              <a:off x="1500649" y="5213966"/>
              <a:ext cx="966931" cy="369332"/>
            </a:xfrm>
            <a:prstGeom prst="rect">
              <a:avLst/>
            </a:prstGeom>
            <a:noFill/>
          </p:spPr>
          <p:txBody>
            <a:bodyPr wrap="none" rtlCol="0">
              <a:spAutoFit/>
            </a:bodyPr>
            <a:lstStyle/>
            <a:p>
              <a:r>
                <a:rPr lang="en-US" sz="1800" dirty="0"/>
                <a:t>Auditee</a:t>
              </a:r>
            </a:p>
          </p:txBody>
        </p:sp>
        <p:sp>
          <p:nvSpPr>
            <p:cNvPr id="6" name="TextBox 5">
              <a:extLst>
                <a:ext uri="{FF2B5EF4-FFF2-40B4-BE49-F238E27FC236}">
                  <a16:creationId xmlns:a16="http://schemas.microsoft.com/office/drawing/2014/main" id="{93C9AB7A-B055-49D5-A94D-A155F17846CC}"/>
                </a:ext>
              </a:extLst>
            </p:cNvPr>
            <p:cNvSpPr txBox="1"/>
            <p:nvPr/>
          </p:nvSpPr>
          <p:spPr>
            <a:xfrm>
              <a:off x="1430617" y="4087417"/>
              <a:ext cx="1059610" cy="584775"/>
            </a:xfrm>
            <a:prstGeom prst="rect">
              <a:avLst/>
            </a:prstGeom>
            <a:noFill/>
          </p:spPr>
          <p:txBody>
            <a:bodyPr wrap="square" rtlCol="0">
              <a:spAutoFit/>
            </a:bodyPr>
            <a:lstStyle/>
            <a:p>
              <a:pPr algn="ctr"/>
              <a:r>
                <a:rPr lang="en-US" sz="1800" dirty="0">
                  <a:solidFill>
                    <a:schemeClr val="bg1"/>
                  </a:solidFill>
                </a:rPr>
                <a:t>RDBMS</a:t>
              </a:r>
            </a:p>
            <a:p>
              <a:pPr algn="ctr"/>
              <a:r>
                <a:rPr lang="en-US" dirty="0">
                  <a:solidFill>
                    <a:schemeClr val="bg1"/>
                  </a:solidFill>
                </a:rPr>
                <a:t>Server</a:t>
              </a:r>
              <a:endParaRPr lang="en-ID" dirty="0">
                <a:solidFill>
                  <a:schemeClr val="bg1"/>
                </a:solidFill>
              </a:endParaRPr>
            </a:p>
          </p:txBody>
        </p:sp>
        <p:sp>
          <p:nvSpPr>
            <p:cNvPr id="7" name="Rectangle 6">
              <a:extLst>
                <a:ext uri="{FF2B5EF4-FFF2-40B4-BE49-F238E27FC236}">
                  <a16:creationId xmlns:a16="http://schemas.microsoft.com/office/drawing/2014/main" id="{DB3BCC7B-BC0A-4E2D-A121-D4DF7B45FD27}"/>
                </a:ext>
              </a:extLst>
            </p:cNvPr>
            <p:cNvSpPr/>
            <p:nvPr/>
          </p:nvSpPr>
          <p:spPr>
            <a:xfrm>
              <a:off x="4493519" y="4672192"/>
              <a:ext cx="1578556" cy="369332"/>
            </a:xfrm>
            <a:prstGeom prst="rect">
              <a:avLst/>
            </a:prstGeom>
            <a:ln>
              <a:solidFill>
                <a:schemeClr val="tx1"/>
              </a:solidFill>
            </a:ln>
          </p:spPr>
          <p:txBody>
            <a:bodyPr wrap="square">
              <a:spAutoFit/>
            </a:bodyPr>
            <a:lstStyle/>
            <a:p>
              <a:r>
                <a:rPr lang="en-ID" sz="1800" dirty="0">
                  <a:solidFill>
                    <a:schemeClr val="tx1"/>
                  </a:solidFill>
                  <a:latin typeface="Barlow Light" panose="00000400000000000000" pitchFamily="2" charset="0"/>
                </a:rPr>
                <a:t>Output</a:t>
              </a:r>
            </a:p>
          </p:txBody>
        </p:sp>
        <p:sp>
          <p:nvSpPr>
            <p:cNvPr id="8" name="Google Shape;4541;p39">
              <a:extLst>
                <a:ext uri="{FF2B5EF4-FFF2-40B4-BE49-F238E27FC236}">
                  <a16:creationId xmlns:a16="http://schemas.microsoft.com/office/drawing/2014/main" id="{178D3B37-BC25-4DF1-AE2F-4E1AC6D87EB5}"/>
                </a:ext>
              </a:extLst>
            </p:cNvPr>
            <p:cNvSpPr/>
            <p:nvPr/>
          </p:nvSpPr>
          <p:spPr>
            <a:xfrm>
              <a:off x="7916650" y="3565432"/>
              <a:ext cx="1436294" cy="1341973"/>
            </a:xfrm>
            <a:custGeom>
              <a:avLst/>
              <a:gdLst/>
              <a:ahLst/>
              <a:cxnLst/>
              <a:rect l="l" t="t" r="r" b="b"/>
              <a:pathLst>
                <a:path w="15290" h="16120" extrusionOk="0">
                  <a:moveTo>
                    <a:pt x="7645" y="1"/>
                  </a:moveTo>
                  <a:lnTo>
                    <a:pt x="7303" y="25"/>
                  </a:lnTo>
                  <a:lnTo>
                    <a:pt x="7010" y="98"/>
                  </a:lnTo>
                  <a:lnTo>
                    <a:pt x="6766" y="172"/>
                  </a:lnTo>
                  <a:lnTo>
                    <a:pt x="6546" y="294"/>
                  </a:lnTo>
                  <a:lnTo>
                    <a:pt x="6351" y="391"/>
                  </a:lnTo>
                  <a:lnTo>
                    <a:pt x="6204" y="538"/>
                  </a:lnTo>
                  <a:lnTo>
                    <a:pt x="6058" y="660"/>
                  </a:lnTo>
                  <a:lnTo>
                    <a:pt x="5960" y="782"/>
                  </a:lnTo>
                  <a:lnTo>
                    <a:pt x="5569" y="856"/>
                  </a:lnTo>
                  <a:lnTo>
                    <a:pt x="5203" y="978"/>
                  </a:lnTo>
                  <a:lnTo>
                    <a:pt x="4885" y="1149"/>
                  </a:lnTo>
                  <a:lnTo>
                    <a:pt x="4617" y="1320"/>
                  </a:lnTo>
                  <a:lnTo>
                    <a:pt x="4372" y="1539"/>
                  </a:lnTo>
                  <a:lnTo>
                    <a:pt x="4177" y="1759"/>
                  </a:lnTo>
                  <a:lnTo>
                    <a:pt x="4030" y="2028"/>
                  </a:lnTo>
                  <a:lnTo>
                    <a:pt x="3908" y="2296"/>
                  </a:lnTo>
                  <a:lnTo>
                    <a:pt x="3811" y="2565"/>
                  </a:lnTo>
                  <a:lnTo>
                    <a:pt x="3737" y="2834"/>
                  </a:lnTo>
                  <a:lnTo>
                    <a:pt x="3689" y="3127"/>
                  </a:lnTo>
                  <a:lnTo>
                    <a:pt x="3640" y="3420"/>
                  </a:lnTo>
                  <a:lnTo>
                    <a:pt x="3640" y="3713"/>
                  </a:lnTo>
                  <a:lnTo>
                    <a:pt x="3640" y="3982"/>
                  </a:lnTo>
                  <a:lnTo>
                    <a:pt x="3689" y="4495"/>
                  </a:lnTo>
                  <a:lnTo>
                    <a:pt x="3689" y="4519"/>
                  </a:lnTo>
                  <a:lnTo>
                    <a:pt x="3566" y="4568"/>
                  </a:lnTo>
                  <a:lnTo>
                    <a:pt x="3469" y="4666"/>
                  </a:lnTo>
                  <a:lnTo>
                    <a:pt x="3395" y="4812"/>
                  </a:lnTo>
                  <a:lnTo>
                    <a:pt x="3322" y="4983"/>
                  </a:lnTo>
                  <a:lnTo>
                    <a:pt x="3273" y="5178"/>
                  </a:lnTo>
                  <a:lnTo>
                    <a:pt x="3249" y="5398"/>
                  </a:lnTo>
                  <a:lnTo>
                    <a:pt x="3224" y="5642"/>
                  </a:lnTo>
                  <a:lnTo>
                    <a:pt x="3249" y="5887"/>
                  </a:lnTo>
                  <a:lnTo>
                    <a:pt x="3298" y="6155"/>
                  </a:lnTo>
                  <a:lnTo>
                    <a:pt x="3347" y="6400"/>
                  </a:lnTo>
                  <a:lnTo>
                    <a:pt x="3444" y="6619"/>
                  </a:lnTo>
                  <a:lnTo>
                    <a:pt x="3542" y="6790"/>
                  </a:lnTo>
                  <a:lnTo>
                    <a:pt x="3640" y="6961"/>
                  </a:lnTo>
                  <a:lnTo>
                    <a:pt x="3762" y="7059"/>
                  </a:lnTo>
                  <a:lnTo>
                    <a:pt x="3884" y="7132"/>
                  </a:lnTo>
                  <a:lnTo>
                    <a:pt x="4030" y="7132"/>
                  </a:lnTo>
                  <a:lnTo>
                    <a:pt x="4104" y="7108"/>
                  </a:lnTo>
                  <a:lnTo>
                    <a:pt x="4275" y="7523"/>
                  </a:lnTo>
                  <a:lnTo>
                    <a:pt x="4494" y="7889"/>
                  </a:lnTo>
                  <a:lnTo>
                    <a:pt x="4714" y="8256"/>
                  </a:lnTo>
                  <a:lnTo>
                    <a:pt x="4983" y="8598"/>
                  </a:lnTo>
                  <a:lnTo>
                    <a:pt x="5252" y="8891"/>
                  </a:lnTo>
                  <a:lnTo>
                    <a:pt x="5545" y="9159"/>
                  </a:lnTo>
                  <a:lnTo>
                    <a:pt x="5862" y="9404"/>
                  </a:lnTo>
                  <a:lnTo>
                    <a:pt x="6180" y="9623"/>
                  </a:lnTo>
                  <a:lnTo>
                    <a:pt x="6180" y="10698"/>
                  </a:lnTo>
                  <a:lnTo>
                    <a:pt x="5667" y="10747"/>
                  </a:lnTo>
                  <a:lnTo>
                    <a:pt x="5081" y="10845"/>
                  </a:lnTo>
                  <a:lnTo>
                    <a:pt x="4519" y="10967"/>
                  </a:lnTo>
                  <a:lnTo>
                    <a:pt x="3957" y="11089"/>
                  </a:lnTo>
                  <a:lnTo>
                    <a:pt x="3420" y="11260"/>
                  </a:lnTo>
                  <a:lnTo>
                    <a:pt x="2931" y="11455"/>
                  </a:lnTo>
                  <a:lnTo>
                    <a:pt x="2467" y="11675"/>
                  </a:lnTo>
                  <a:lnTo>
                    <a:pt x="2028" y="11919"/>
                  </a:lnTo>
                  <a:lnTo>
                    <a:pt x="1637" y="12188"/>
                  </a:lnTo>
                  <a:lnTo>
                    <a:pt x="1271" y="12456"/>
                  </a:lnTo>
                  <a:lnTo>
                    <a:pt x="953" y="12774"/>
                  </a:lnTo>
                  <a:lnTo>
                    <a:pt x="684" y="13116"/>
                  </a:lnTo>
                  <a:lnTo>
                    <a:pt x="440" y="13458"/>
                  </a:lnTo>
                  <a:lnTo>
                    <a:pt x="269" y="13849"/>
                  </a:lnTo>
                  <a:lnTo>
                    <a:pt x="123" y="14239"/>
                  </a:lnTo>
                  <a:lnTo>
                    <a:pt x="49" y="14679"/>
                  </a:lnTo>
                  <a:lnTo>
                    <a:pt x="1" y="15119"/>
                  </a:lnTo>
                  <a:lnTo>
                    <a:pt x="49" y="15167"/>
                  </a:lnTo>
                  <a:lnTo>
                    <a:pt x="245" y="15265"/>
                  </a:lnTo>
                  <a:lnTo>
                    <a:pt x="416" y="15338"/>
                  </a:lnTo>
                  <a:lnTo>
                    <a:pt x="636" y="15436"/>
                  </a:lnTo>
                  <a:lnTo>
                    <a:pt x="904" y="15534"/>
                  </a:lnTo>
                  <a:lnTo>
                    <a:pt x="1271" y="15607"/>
                  </a:lnTo>
                  <a:lnTo>
                    <a:pt x="1710" y="15705"/>
                  </a:lnTo>
                  <a:lnTo>
                    <a:pt x="2223" y="15802"/>
                  </a:lnTo>
                  <a:lnTo>
                    <a:pt x="2834" y="15876"/>
                  </a:lnTo>
                  <a:lnTo>
                    <a:pt x="3566" y="15973"/>
                  </a:lnTo>
                  <a:lnTo>
                    <a:pt x="4397" y="16022"/>
                  </a:lnTo>
                  <a:lnTo>
                    <a:pt x="5325" y="16071"/>
                  </a:lnTo>
                  <a:lnTo>
                    <a:pt x="6399" y="16096"/>
                  </a:lnTo>
                  <a:lnTo>
                    <a:pt x="7621" y="16120"/>
                  </a:lnTo>
                  <a:lnTo>
                    <a:pt x="8817" y="16096"/>
                  </a:lnTo>
                  <a:lnTo>
                    <a:pt x="9892" y="16071"/>
                  </a:lnTo>
                  <a:lnTo>
                    <a:pt x="10844" y="16022"/>
                  </a:lnTo>
                  <a:lnTo>
                    <a:pt x="11675" y="15973"/>
                  </a:lnTo>
                  <a:lnTo>
                    <a:pt x="12408" y="15876"/>
                  </a:lnTo>
                  <a:lnTo>
                    <a:pt x="13018" y="15802"/>
                  </a:lnTo>
                  <a:lnTo>
                    <a:pt x="13555" y="15705"/>
                  </a:lnTo>
                  <a:lnTo>
                    <a:pt x="13995" y="15607"/>
                  </a:lnTo>
                  <a:lnTo>
                    <a:pt x="14361" y="15534"/>
                  </a:lnTo>
                  <a:lnTo>
                    <a:pt x="14654" y="15436"/>
                  </a:lnTo>
                  <a:lnTo>
                    <a:pt x="14874" y="15338"/>
                  </a:lnTo>
                  <a:lnTo>
                    <a:pt x="15045" y="15265"/>
                  </a:lnTo>
                  <a:lnTo>
                    <a:pt x="15216" y="15167"/>
                  </a:lnTo>
                  <a:lnTo>
                    <a:pt x="15289" y="15119"/>
                  </a:lnTo>
                  <a:lnTo>
                    <a:pt x="15241" y="14655"/>
                  </a:lnTo>
                  <a:lnTo>
                    <a:pt x="15167" y="14215"/>
                  </a:lnTo>
                  <a:lnTo>
                    <a:pt x="15045" y="13800"/>
                  </a:lnTo>
                  <a:lnTo>
                    <a:pt x="14874" y="13409"/>
                  </a:lnTo>
                  <a:lnTo>
                    <a:pt x="14630" y="13043"/>
                  </a:lnTo>
                  <a:lnTo>
                    <a:pt x="14361" y="12701"/>
                  </a:lnTo>
                  <a:lnTo>
                    <a:pt x="14044" y="12408"/>
                  </a:lnTo>
                  <a:lnTo>
                    <a:pt x="13678" y="12115"/>
                  </a:lnTo>
                  <a:lnTo>
                    <a:pt x="13287" y="11846"/>
                  </a:lnTo>
                  <a:lnTo>
                    <a:pt x="12847" y="11626"/>
                  </a:lnTo>
                  <a:lnTo>
                    <a:pt x="12359" y="11406"/>
                  </a:lnTo>
                  <a:lnTo>
                    <a:pt x="11846" y="11235"/>
                  </a:lnTo>
                  <a:lnTo>
                    <a:pt x="11284" y="11064"/>
                  </a:lnTo>
                  <a:lnTo>
                    <a:pt x="10698" y="10942"/>
                  </a:lnTo>
                  <a:lnTo>
                    <a:pt x="10063" y="10820"/>
                  </a:lnTo>
                  <a:lnTo>
                    <a:pt x="9428" y="10747"/>
                  </a:lnTo>
                  <a:lnTo>
                    <a:pt x="9110" y="10722"/>
                  </a:lnTo>
                  <a:lnTo>
                    <a:pt x="9110" y="9623"/>
                  </a:lnTo>
                  <a:lnTo>
                    <a:pt x="9428" y="9404"/>
                  </a:lnTo>
                  <a:lnTo>
                    <a:pt x="9745" y="9159"/>
                  </a:lnTo>
                  <a:lnTo>
                    <a:pt x="10039" y="8891"/>
                  </a:lnTo>
                  <a:lnTo>
                    <a:pt x="10332" y="8598"/>
                  </a:lnTo>
                  <a:lnTo>
                    <a:pt x="10576" y="8256"/>
                  </a:lnTo>
                  <a:lnTo>
                    <a:pt x="10796" y="7889"/>
                  </a:lnTo>
                  <a:lnTo>
                    <a:pt x="11015" y="7523"/>
                  </a:lnTo>
                  <a:lnTo>
                    <a:pt x="11186" y="7108"/>
                  </a:lnTo>
                  <a:lnTo>
                    <a:pt x="11260" y="7132"/>
                  </a:lnTo>
                  <a:lnTo>
                    <a:pt x="11406" y="7132"/>
                  </a:lnTo>
                  <a:lnTo>
                    <a:pt x="11528" y="7059"/>
                  </a:lnTo>
                  <a:lnTo>
                    <a:pt x="11650" y="6961"/>
                  </a:lnTo>
                  <a:lnTo>
                    <a:pt x="11748" y="6790"/>
                  </a:lnTo>
                  <a:lnTo>
                    <a:pt x="11846" y="6619"/>
                  </a:lnTo>
                  <a:lnTo>
                    <a:pt x="11944" y="6400"/>
                  </a:lnTo>
                  <a:lnTo>
                    <a:pt x="11992" y="6155"/>
                  </a:lnTo>
                  <a:lnTo>
                    <a:pt x="12041" y="5887"/>
                  </a:lnTo>
                  <a:lnTo>
                    <a:pt x="12066" y="5642"/>
                  </a:lnTo>
                  <a:lnTo>
                    <a:pt x="12041" y="5398"/>
                  </a:lnTo>
                  <a:lnTo>
                    <a:pt x="12017" y="5203"/>
                  </a:lnTo>
                  <a:lnTo>
                    <a:pt x="11968" y="5007"/>
                  </a:lnTo>
                  <a:lnTo>
                    <a:pt x="11919" y="4836"/>
                  </a:lnTo>
                  <a:lnTo>
                    <a:pt x="11846" y="4690"/>
                  </a:lnTo>
                  <a:lnTo>
                    <a:pt x="11748" y="4592"/>
                  </a:lnTo>
                  <a:lnTo>
                    <a:pt x="11626" y="4519"/>
                  </a:lnTo>
                  <a:lnTo>
                    <a:pt x="11699" y="4153"/>
                  </a:lnTo>
                  <a:lnTo>
                    <a:pt x="11724" y="3811"/>
                  </a:lnTo>
                  <a:lnTo>
                    <a:pt x="11724" y="3493"/>
                  </a:lnTo>
                  <a:lnTo>
                    <a:pt x="11724" y="3200"/>
                  </a:lnTo>
                  <a:lnTo>
                    <a:pt x="11699" y="2907"/>
                  </a:lnTo>
                  <a:lnTo>
                    <a:pt x="11650" y="2638"/>
                  </a:lnTo>
                  <a:lnTo>
                    <a:pt x="11577" y="2394"/>
                  </a:lnTo>
                  <a:lnTo>
                    <a:pt x="11504" y="2150"/>
                  </a:lnTo>
                  <a:lnTo>
                    <a:pt x="11406" y="1930"/>
                  </a:lnTo>
                  <a:lnTo>
                    <a:pt x="11309" y="1710"/>
                  </a:lnTo>
                  <a:lnTo>
                    <a:pt x="11186" y="1515"/>
                  </a:lnTo>
                  <a:lnTo>
                    <a:pt x="11040" y="1344"/>
                  </a:lnTo>
                  <a:lnTo>
                    <a:pt x="10893" y="1173"/>
                  </a:lnTo>
                  <a:lnTo>
                    <a:pt x="10747" y="1026"/>
                  </a:lnTo>
                  <a:lnTo>
                    <a:pt x="10429" y="758"/>
                  </a:lnTo>
                  <a:lnTo>
                    <a:pt x="10063" y="562"/>
                  </a:lnTo>
                  <a:lnTo>
                    <a:pt x="9697" y="367"/>
                  </a:lnTo>
                  <a:lnTo>
                    <a:pt x="9330" y="245"/>
                  </a:lnTo>
                  <a:lnTo>
                    <a:pt x="8964" y="147"/>
                  </a:lnTo>
                  <a:lnTo>
                    <a:pt x="8598" y="74"/>
                  </a:lnTo>
                  <a:lnTo>
                    <a:pt x="8256" y="25"/>
                  </a:lnTo>
                  <a:lnTo>
                    <a:pt x="793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dk1"/>
                </a:solidFill>
              </a:endParaRPr>
            </a:p>
          </p:txBody>
        </p:sp>
        <p:cxnSp>
          <p:nvCxnSpPr>
            <p:cNvPr id="9" name="Straight Arrow Connector 8">
              <a:extLst>
                <a:ext uri="{FF2B5EF4-FFF2-40B4-BE49-F238E27FC236}">
                  <a16:creationId xmlns:a16="http://schemas.microsoft.com/office/drawing/2014/main" id="{C69004C8-A943-4946-8AD6-4631E66A4B86}"/>
                </a:ext>
              </a:extLst>
            </p:cNvPr>
            <p:cNvCxnSpPr>
              <a:cxnSpLocks/>
            </p:cNvCxnSpPr>
            <p:nvPr/>
          </p:nvCxnSpPr>
          <p:spPr>
            <a:xfrm flipH="1">
              <a:off x="3040588" y="3742144"/>
              <a:ext cx="1395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98A15C9-97BA-411D-BC05-E7F787B68164}"/>
                </a:ext>
              </a:extLst>
            </p:cNvPr>
            <p:cNvCxnSpPr>
              <a:cxnSpLocks/>
            </p:cNvCxnSpPr>
            <p:nvPr/>
          </p:nvCxnSpPr>
          <p:spPr>
            <a:xfrm>
              <a:off x="6172049" y="4826081"/>
              <a:ext cx="1395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300662-37C3-4120-BCA9-77D64C26CC9C}"/>
                </a:ext>
              </a:extLst>
            </p:cNvPr>
            <p:cNvCxnSpPr>
              <a:cxnSpLocks/>
            </p:cNvCxnSpPr>
            <p:nvPr/>
          </p:nvCxnSpPr>
          <p:spPr>
            <a:xfrm>
              <a:off x="3040588" y="4856858"/>
              <a:ext cx="1452931" cy="148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E8F735A-4FE1-482E-B4CF-29CD4A783E13}"/>
                </a:ext>
              </a:extLst>
            </p:cNvPr>
            <p:cNvSpPr txBox="1"/>
            <p:nvPr/>
          </p:nvSpPr>
          <p:spPr>
            <a:xfrm>
              <a:off x="4286414" y="2684443"/>
              <a:ext cx="2016689" cy="369332"/>
            </a:xfrm>
            <a:prstGeom prst="rect">
              <a:avLst/>
            </a:prstGeom>
            <a:noFill/>
          </p:spPr>
          <p:txBody>
            <a:bodyPr wrap="square" rtlCol="0">
              <a:spAutoFit/>
            </a:bodyPr>
            <a:lstStyle/>
            <a:p>
              <a:r>
                <a:rPr lang="en-US" sz="1800" b="1" dirty="0">
                  <a:latin typeface="Barlow Light" panose="00000400000000000000" pitchFamily="2" charset="0"/>
                </a:rPr>
                <a:t>Via DB Client Tools</a:t>
              </a:r>
              <a:endParaRPr lang="en-ID" sz="1800" b="1" dirty="0">
                <a:latin typeface="Barlow Light" panose="00000400000000000000" pitchFamily="2" charset="0"/>
              </a:endParaRPr>
            </a:p>
          </p:txBody>
        </p:sp>
        <p:sp>
          <p:nvSpPr>
            <p:cNvPr id="13" name="Rectangle 12">
              <a:extLst>
                <a:ext uri="{FF2B5EF4-FFF2-40B4-BE49-F238E27FC236}">
                  <a16:creationId xmlns:a16="http://schemas.microsoft.com/office/drawing/2014/main" id="{01C4FB09-6F77-4620-AC9D-8EA6B6FCD911}"/>
                </a:ext>
              </a:extLst>
            </p:cNvPr>
            <p:cNvSpPr/>
            <p:nvPr/>
          </p:nvSpPr>
          <p:spPr>
            <a:xfrm>
              <a:off x="4493519" y="3623325"/>
              <a:ext cx="1602481" cy="369332"/>
            </a:xfrm>
            <a:prstGeom prst="rect">
              <a:avLst/>
            </a:prstGeom>
            <a:ln>
              <a:solidFill>
                <a:schemeClr val="tx1"/>
              </a:solidFill>
            </a:ln>
          </p:spPr>
          <p:txBody>
            <a:bodyPr wrap="square">
              <a:spAutoFit/>
            </a:bodyPr>
            <a:lstStyle/>
            <a:p>
              <a:r>
                <a:rPr lang="en-ID" sz="1800" dirty="0">
                  <a:latin typeface="Barlow Light" panose="00000400000000000000" pitchFamily="2" charset="0"/>
                </a:rPr>
                <a:t>Query/Scripts</a:t>
              </a:r>
              <a:endParaRPr lang="en-ID" sz="1800" dirty="0">
                <a:solidFill>
                  <a:schemeClr val="tx1"/>
                </a:solidFill>
                <a:latin typeface="Barlow Light" panose="00000400000000000000" pitchFamily="2" charset="0"/>
              </a:endParaRPr>
            </a:p>
          </p:txBody>
        </p:sp>
        <p:cxnSp>
          <p:nvCxnSpPr>
            <p:cNvPr id="14" name="Straight Arrow Connector 13">
              <a:extLst>
                <a:ext uri="{FF2B5EF4-FFF2-40B4-BE49-F238E27FC236}">
                  <a16:creationId xmlns:a16="http://schemas.microsoft.com/office/drawing/2014/main" id="{445E2C09-7990-420E-9CC6-DCC5DA5B85E4}"/>
                </a:ext>
              </a:extLst>
            </p:cNvPr>
            <p:cNvCxnSpPr>
              <a:cxnSpLocks/>
            </p:cNvCxnSpPr>
            <p:nvPr/>
          </p:nvCxnSpPr>
          <p:spPr>
            <a:xfrm flipH="1">
              <a:off x="6172049" y="3742144"/>
              <a:ext cx="1395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755DC5D-AE67-4B9C-83A8-790FFE893FBD}"/>
                </a:ext>
              </a:extLst>
            </p:cNvPr>
            <p:cNvSpPr txBox="1"/>
            <p:nvPr/>
          </p:nvSpPr>
          <p:spPr>
            <a:xfrm>
              <a:off x="8189322" y="5077263"/>
              <a:ext cx="890950" cy="369332"/>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r>
                <a:rPr lang="en-US" dirty="0"/>
                <a:t>Auditor</a:t>
              </a:r>
            </a:p>
          </p:txBody>
        </p:sp>
      </p:grpSp>
      <p:grpSp>
        <p:nvGrpSpPr>
          <p:cNvPr id="18" name="Group 17">
            <a:extLst>
              <a:ext uri="{FF2B5EF4-FFF2-40B4-BE49-F238E27FC236}">
                <a16:creationId xmlns:a16="http://schemas.microsoft.com/office/drawing/2014/main" id="{6E38789C-55EF-4EC0-AE05-68D7E1357D11}"/>
              </a:ext>
            </a:extLst>
          </p:cNvPr>
          <p:cNvGrpSpPr/>
          <p:nvPr/>
        </p:nvGrpSpPr>
        <p:grpSpPr>
          <a:xfrm>
            <a:off x="1301621" y="4117088"/>
            <a:ext cx="9791708" cy="2263561"/>
            <a:chOff x="1169589" y="3234585"/>
            <a:chExt cx="9791708" cy="2263561"/>
          </a:xfrm>
        </p:grpSpPr>
        <p:sp>
          <p:nvSpPr>
            <p:cNvPr id="19" name="Flowchart: Magnetic Disk 18">
              <a:extLst>
                <a:ext uri="{FF2B5EF4-FFF2-40B4-BE49-F238E27FC236}">
                  <a16:creationId xmlns:a16="http://schemas.microsoft.com/office/drawing/2014/main" id="{51CCE086-F1EE-439B-8B6C-A2F9C9DAB478}"/>
                </a:ext>
              </a:extLst>
            </p:cNvPr>
            <p:cNvSpPr/>
            <p:nvPr/>
          </p:nvSpPr>
          <p:spPr>
            <a:xfrm>
              <a:off x="1169589" y="3234585"/>
              <a:ext cx="1469479" cy="1816699"/>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0" name="TextBox 19">
              <a:extLst>
                <a:ext uri="{FF2B5EF4-FFF2-40B4-BE49-F238E27FC236}">
                  <a16:creationId xmlns:a16="http://schemas.microsoft.com/office/drawing/2014/main" id="{34A041FB-3156-4DC2-8816-60C3C307E9F2}"/>
                </a:ext>
              </a:extLst>
            </p:cNvPr>
            <p:cNvSpPr txBox="1"/>
            <p:nvPr/>
          </p:nvSpPr>
          <p:spPr>
            <a:xfrm>
              <a:off x="1388778" y="4016926"/>
              <a:ext cx="1031097" cy="646331"/>
            </a:xfrm>
            <a:prstGeom prst="rect">
              <a:avLst/>
            </a:prstGeom>
            <a:noFill/>
          </p:spPr>
          <p:txBody>
            <a:bodyPr wrap="square" rtlCol="0">
              <a:spAutoFit/>
            </a:bodyPr>
            <a:lstStyle>
              <a:defPPr marR="0" lvl="0" algn="l" rtl="0">
                <a:lnSpc>
                  <a:spcPct val="100000"/>
                </a:lnSpc>
                <a:spcBef>
                  <a:spcPts val="0"/>
                </a:spcBef>
                <a:spcAft>
                  <a:spcPts val="0"/>
                </a:spcAft>
              </a:defPPr>
              <a:lvl1pPr algn="ctr">
                <a:defRPr sz="1800">
                  <a:solidFill>
                    <a:schemeClr val="bg1"/>
                  </a:solidFill>
                </a:defRPr>
              </a:lvl1pPr>
            </a:lstStyle>
            <a:p>
              <a:r>
                <a:rPr lang="en-US" dirty="0"/>
                <a:t>RDBMS</a:t>
              </a:r>
            </a:p>
            <a:p>
              <a:r>
                <a:rPr lang="en-US" dirty="0"/>
                <a:t>Server</a:t>
              </a:r>
              <a:endParaRPr lang="en-ID" dirty="0"/>
            </a:p>
          </p:txBody>
        </p:sp>
        <p:sp>
          <p:nvSpPr>
            <p:cNvPr id="21" name="TextBox 20">
              <a:extLst>
                <a:ext uri="{FF2B5EF4-FFF2-40B4-BE49-F238E27FC236}">
                  <a16:creationId xmlns:a16="http://schemas.microsoft.com/office/drawing/2014/main" id="{490AA16C-E713-4EFA-8F82-F64E131B5C92}"/>
                </a:ext>
              </a:extLst>
            </p:cNvPr>
            <p:cNvSpPr txBox="1"/>
            <p:nvPr/>
          </p:nvSpPr>
          <p:spPr>
            <a:xfrm>
              <a:off x="1444554" y="5128814"/>
              <a:ext cx="919547" cy="369332"/>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r>
                <a:rPr lang="en-US" dirty="0"/>
                <a:t>Auditee</a:t>
              </a:r>
            </a:p>
          </p:txBody>
        </p:sp>
        <p:cxnSp>
          <p:nvCxnSpPr>
            <p:cNvPr id="22" name="Straight Arrow Connector 21">
              <a:extLst>
                <a:ext uri="{FF2B5EF4-FFF2-40B4-BE49-F238E27FC236}">
                  <a16:creationId xmlns:a16="http://schemas.microsoft.com/office/drawing/2014/main" id="{2867FB9D-845E-4641-BA32-D3629329AECA}"/>
                </a:ext>
              </a:extLst>
            </p:cNvPr>
            <p:cNvCxnSpPr/>
            <p:nvPr/>
          </p:nvCxnSpPr>
          <p:spPr>
            <a:xfrm>
              <a:off x="2738567" y="4190379"/>
              <a:ext cx="1395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D61C64E3-BAAA-483F-A640-BB95E6318D17}"/>
                </a:ext>
              </a:extLst>
            </p:cNvPr>
            <p:cNvGrpSpPr/>
            <p:nvPr/>
          </p:nvGrpSpPr>
          <p:grpSpPr>
            <a:xfrm>
              <a:off x="4260310" y="3653050"/>
              <a:ext cx="710275" cy="1074657"/>
              <a:chOff x="4408572" y="3747690"/>
              <a:chExt cx="413752" cy="626013"/>
            </a:xfrm>
          </p:grpSpPr>
          <p:sp>
            <p:nvSpPr>
              <p:cNvPr id="34" name="Can 2">
                <a:extLst>
                  <a:ext uri="{FF2B5EF4-FFF2-40B4-BE49-F238E27FC236}">
                    <a16:creationId xmlns:a16="http://schemas.microsoft.com/office/drawing/2014/main" id="{CC07D394-1CC9-405C-915F-8D0BB273381D}"/>
                  </a:ext>
                </a:extLst>
              </p:cNvPr>
              <p:cNvSpPr/>
              <p:nvPr/>
            </p:nvSpPr>
            <p:spPr>
              <a:xfrm>
                <a:off x="4408572" y="3747690"/>
                <a:ext cx="413752" cy="18825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an 30">
                <a:extLst>
                  <a:ext uri="{FF2B5EF4-FFF2-40B4-BE49-F238E27FC236}">
                    <a16:creationId xmlns:a16="http://schemas.microsoft.com/office/drawing/2014/main" id="{204557E6-EC84-4571-928C-F090EF517D5B}"/>
                  </a:ext>
                </a:extLst>
              </p:cNvPr>
              <p:cNvSpPr/>
              <p:nvPr/>
            </p:nvSpPr>
            <p:spPr>
              <a:xfrm>
                <a:off x="4408572" y="3966567"/>
                <a:ext cx="413752" cy="18825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Can 32">
                <a:extLst>
                  <a:ext uri="{FF2B5EF4-FFF2-40B4-BE49-F238E27FC236}">
                    <a16:creationId xmlns:a16="http://schemas.microsoft.com/office/drawing/2014/main" id="{29BE56D1-BF4A-4A16-8A50-DCCC32A378F0}"/>
                  </a:ext>
                </a:extLst>
              </p:cNvPr>
              <p:cNvSpPr/>
              <p:nvPr/>
            </p:nvSpPr>
            <p:spPr>
              <a:xfrm>
                <a:off x="4408572" y="4185444"/>
                <a:ext cx="413752" cy="18825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a:extLst>
                <a:ext uri="{FF2B5EF4-FFF2-40B4-BE49-F238E27FC236}">
                  <a16:creationId xmlns:a16="http://schemas.microsoft.com/office/drawing/2014/main" id="{2DD6C3D5-8C16-4956-8F52-E152D7CEED0D}"/>
                </a:ext>
              </a:extLst>
            </p:cNvPr>
            <p:cNvSpPr txBox="1"/>
            <p:nvPr/>
          </p:nvSpPr>
          <p:spPr>
            <a:xfrm>
              <a:off x="3569905" y="4819888"/>
              <a:ext cx="2048125" cy="646331"/>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r>
                <a:rPr lang="en-US" dirty="0"/>
                <a:t>Database Backup</a:t>
              </a:r>
            </a:p>
            <a:p>
              <a:pPr algn="ctr"/>
              <a:r>
                <a:rPr lang="en-US" dirty="0"/>
                <a:t>.</a:t>
              </a:r>
              <a:r>
                <a:rPr lang="en-US" dirty="0" err="1"/>
                <a:t>bak</a:t>
              </a:r>
              <a:r>
                <a:rPr lang="en-US" dirty="0"/>
                <a:t>, .</a:t>
              </a:r>
              <a:r>
                <a:rPr lang="en-US" dirty="0" err="1"/>
                <a:t>dmp</a:t>
              </a:r>
              <a:r>
                <a:rPr lang="en-US" dirty="0"/>
                <a:t>, </a:t>
              </a:r>
              <a:r>
                <a:rPr lang="en-US" dirty="0" err="1"/>
                <a:t>etc</a:t>
              </a:r>
              <a:endParaRPr lang="en-US" dirty="0"/>
            </a:p>
          </p:txBody>
        </p:sp>
        <p:sp>
          <p:nvSpPr>
            <p:cNvPr id="25" name="TextBox 24">
              <a:extLst>
                <a:ext uri="{FF2B5EF4-FFF2-40B4-BE49-F238E27FC236}">
                  <a16:creationId xmlns:a16="http://schemas.microsoft.com/office/drawing/2014/main" id="{9F828A52-7B75-46F2-935E-26F3CEE28C12}"/>
                </a:ext>
              </a:extLst>
            </p:cNvPr>
            <p:cNvSpPr txBox="1"/>
            <p:nvPr/>
          </p:nvSpPr>
          <p:spPr>
            <a:xfrm>
              <a:off x="3829430" y="5051284"/>
              <a:ext cx="184731" cy="307777"/>
            </a:xfrm>
            <a:prstGeom prst="rect">
              <a:avLst/>
            </a:prstGeom>
            <a:noFill/>
          </p:spPr>
          <p:txBody>
            <a:bodyPr wrap="none" rtlCol="0">
              <a:spAutoFit/>
            </a:bodyPr>
            <a:lstStyle/>
            <a:p>
              <a:endParaRPr lang="en-US" dirty="0"/>
            </a:p>
          </p:txBody>
        </p:sp>
        <p:sp>
          <p:nvSpPr>
            <p:cNvPr id="26" name="Flowchart: Magnetic Disk 25">
              <a:extLst>
                <a:ext uri="{FF2B5EF4-FFF2-40B4-BE49-F238E27FC236}">
                  <a16:creationId xmlns:a16="http://schemas.microsoft.com/office/drawing/2014/main" id="{368B4648-3B1C-4A01-A5F5-D9212FB90F1E}"/>
                </a:ext>
              </a:extLst>
            </p:cNvPr>
            <p:cNvSpPr/>
            <p:nvPr/>
          </p:nvSpPr>
          <p:spPr>
            <a:xfrm>
              <a:off x="6514825" y="3234585"/>
              <a:ext cx="1469479" cy="1816699"/>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cxnSp>
          <p:nvCxnSpPr>
            <p:cNvPr id="27" name="Straight Arrow Connector 26">
              <a:extLst>
                <a:ext uri="{FF2B5EF4-FFF2-40B4-BE49-F238E27FC236}">
                  <a16:creationId xmlns:a16="http://schemas.microsoft.com/office/drawing/2014/main" id="{C9B5CB38-9B1B-4A05-9F21-C7CF926FC8B9}"/>
                </a:ext>
              </a:extLst>
            </p:cNvPr>
            <p:cNvCxnSpPr/>
            <p:nvPr/>
          </p:nvCxnSpPr>
          <p:spPr>
            <a:xfrm>
              <a:off x="5045030" y="4194239"/>
              <a:ext cx="1395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E34CB16-4ABB-4DAA-90B0-539A3B857DE2}"/>
                </a:ext>
              </a:extLst>
            </p:cNvPr>
            <p:cNvSpPr txBox="1"/>
            <p:nvPr/>
          </p:nvSpPr>
          <p:spPr>
            <a:xfrm>
              <a:off x="6769359" y="5051284"/>
              <a:ext cx="890950" cy="369332"/>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r>
                <a:rPr lang="en-US" dirty="0"/>
                <a:t>Auditor</a:t>
              </a:r>
            </a:p>
          </p:txBody>
        </p:sp>
        <p:sp>
          <p:nvSpPr>
            <p:cNvPr id="29" name="TextBox 28">
              <a:extLst>
                <a:ext uri="{FF2B5EF4-FFF2-40B4-BE49-F238E27FC236}">
                  <a16:creationId xmlns:a16="http://schemas.microsoft.com/office/drawing/2014/main" id="{D9EAE4E0-5F7C-4FFC-98AA-9B42443DFCBD}"/>
                </a:ext>
              </a:extLst>
            </p:cNvPr>
            <p:cNvSpPr txBox="1"/>
            <p:nvPr/>
          </p:nvSpPr>
          <p:spPr>
            <a:xfrm>
              <a:off x="6671073" y="4000191"/>
              <a:ext cx="1087521" cy="646331"/>
            </a:xfrm>
            <a:prstGeom prst="rect">
              <a:avLst/>
            </a:prstGeom>
            <a:noFill/>
          </p:spPr>
          <p:txBody>
            <a:bodyPr wrap="square" rtlCol="0">
              <a:spAutoFit/>
            </a:bodyPr>
            <a:lstStyle>
              <a:defPPr marR="0" lvl="0" algn="l" rtl="0">
                <a:lnSpc>
                  <a:spcPct val="100000"/>
                </a:lnSpc>
                <a:spcBef>
                  <a:spcPts val="0"/>
                </a:spcBef>
                <a:spcAft>
                  <a:spcPts val="0"/>
                </a:spcAft>
              </a:defPPr>
              <a:lvl1pPr algn="ctr">
                <a:defRPr sz="1800">
                  <a:solidFill>
                    <a:schemeClr val="bg1"/>
                  </a:solidFill>
                </a:defRPr>
              </a:lvl1pPr>
            </a:lstStyle>
            <a:p>
              <a:r>
                <a:rPr lang="en-US"/>
                <a:t>RDBMS</a:t>
              </a:r>
            </a:p>
            <a:p>
              <a:r>
                <a:rPr lang="en-US"/>
                <a:t>Server</a:t>
              </a:r>
              <a:endParaRPr lang="en-ID"/>
            </a:p>
          </p:txBody>
        </p:sp>
        <p:cxnSp>
          <p:nvCxnSpPr>
            <p:cNvPr id="30" name="Straight Arrow Connector 29">
              <a:extLst>
                <a:ext uri="{FF2B5EF4-FFF2-40B4-BE49-F238E27FC236}">
                  <a16:creationId xmlns:a16="http://schemas.microsoft.com/office/drawing/2014/main" id="{EF94EE5D-EB6A-416B-973E-A9E296EEDF3B}"/>
                </a:ext>
              </a:extLst>
            </p:cNvPr>
            <p:cNvCxnSpPr/>
            <p:nvPr/>
          </p:nvCxnSpPr>
          <p:spPr>
            <a:xfrm flipH="1">
              <a:off x="8230557" y="4175570"/>
              <a:ext cx="1452931" cy="148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Google Shape;4541;p39">
              <a:extLst>
                <a:ext uri="{FF2B5EF4-FFF2-40B4-BE49-F238E27FC236}">
                  <a16:creationId xmlns:a16="http://schemas.microsoft.com/office/drawing/2014/main" id="{C86703C5-FCC2-4994-873A-9B27CD88C9FB}"/>
                </a:ext>
              </a:extLst>
            </p:cNvPr>
            <p:cNvSpPr/>
            <p:nvPr/>
          </p:nvSpPr>
          <p:spPr>
            <a:xfrm>
              <a:off x="9525003" y="3519391"/>
              <a:ext cx="1436294" cy="1341973"/>
            </a:xfrm>
            <a:custGeom>
              <a:avLst/>
              <a:gdLst/>
              <a:ahLst/>
              <a:cxnLst/>
              <a:rect l="l" t="t" r="r" b="b"/>
              <a:pathLst>
                <a:path w="15290" h="16120" extrusionOk="0">
                  <a:moveTo>
                    <a:pt x="7645" y="1"/>
                  </a:moveTo>
                  <a:lnTo>
                    <a:pt x="7303" y="25"/>
                  </a:lnTo>
                  <a:lnTo>
                    <a:pt x="7010" y="98"/>
                  </a:lnTo>
                  <a:lnTo>
                    <a:pt x="6766" y="172"/>
                  </a:lnTo>
                  <a:lnTo>
                    <a:pt x="6546" y="294"/>
                  </a:lnTo>
                  <a:lnTo>
                    <a:pt x="6351" y="391"/>
                  </a:lnTo>
                  <a:lnTo>
                    <a:pt x="6204" y="538"/>
                  </a:lnTo>
                  <a:lnTo>
                    <a:pt x="6058" y="660"/>
                  </a:lnTo>
                  <a:lnTo>
                    <a:pt x="5960" y="782"/>
                  </a:lnTo>
                  <a:lnTo>
                    <a:pt x="5569" y="856"/>
                  </a:lnTo>
                  <a:lnTo>
                    <a:pt x="5203" y="978"/>
                  </a:lnTo>
                  <a:lnTo>
                    <a:pt x="4885" y="1149"/>
                  </a:lnTo>
                  <a:lnTo>
                    <a:pt x="4617" y="1320"/>
                  </a:lnTo>
                  <a:lnTo>
                    <a:pt x="4372" y="1539"/>
                  </a:lnTo>
                  <a:lnTo>
                    <a:pt x="4177" y="1759"/>
                  </a:lnTo>
                  <a:lnTo>
                    <a:pt x="4030" y="2028"/>
                  </a:lnTo>
                  <a:lnTo>
                    <a:pt x="3908" y="2296"/>
                  </a:lnTo>
                  <a:lnTo>
                    <a:pt x="3811" y="2565"/>
                  </a:lnTo>
                  <a:lnTo>
                    <a:pt x="3737" y="2834"/>
                  </a:lnTo>
                  <a:lnTo>
                    <a:pt x="3689" y="3127"/>
                  </a:lnTo>
                  <a:lnTo>
                    <a:pt x="3640" y="3420"/>
                  </a:lnTo>
                  <a:lnTo>
                    <a:pt x="3640" y="3713"/>
                  </a:lnTo>
                  <a:lnTo>
                    <a:pt x="3640" y="3982"/>
                  </a:lnTo>
                  <a:lnTo>
                    <a:pt x="3689" y="4495"/>
                  </a:lnTo>
                  <a:lnTo>
                    <a:pt x="3689" y="4519"/>
                  </a:lnTo>
                  <a:lnTo>
                    <a:pt x="3566" y="4568"/>
                  </a:lnTo>
                  <a:lnTo>
                    <a:pt x="3469" y="4666"/>
                  </a:lnTo>
                  <a:lnTo>
                    <a:pt x="3395" y="4812"/>
                  </a:lnTo>
                  <a:lnTo>
                    <a:pt x="3322" y="4983"/>
                  </a:lnTo>
                  <a:lnTo>
                    <a:pt x="3273" y="5178"/>
                  </a:lnTo>
                  <a:lnTo>
                    <a:pt x="3249" y="5398"/>
                  </a:lnTo>
                  <a:lnTo>
                    <a:pt x="3224" y="5642"/>
                  </a:lnTo>
                  <a:lnTo>
                    <a:pt x="3249" y="5887"/>
                  </a:lnTo>
                  <a:lnTo>
                    <a:pt x="3298" y="6155"/>
                  </a:lnTo>
                  <a:lnTo>
                    <a:pt x="3347" y="6400"/>
                  </a:lnTo>
                  <a:lnTo>
                    <a:pt x="3444" y="6619"/>
                  </a:lnTo>
                  <a:lnTo>
                    <a:pt x="3542" y="6790"/>
                  </a:lnTo>
                  <a:lnTo>
                    <a:pt x="3640" y="6961"/>
                  </a:lnTo>
                  <a:lnTo>
                    <a:pt x="3762" y="7059"/>
                  </a:lnTo>
                  <a:lnTo>
                    <a:pt x="3884" y="7132"/>
                  </a:lnTo>
                  <a:lnTo>
                    <a:pt x="4030" y="7132"/>
                  </a:lnTo>
                  <a:lnTo>
                    <a:pt x="4104" y="7108"/>
                  </a:lnTo>
                  <a:lnTo>
                    <a:pt x="4275" y="7523"/>
                  </a:lnTo>
                  <a:lnTo>
                    <a:pt x="4494" y="7889"/>
                  </a:lnTo>
                  <a:lnTo>
                    <a:pt x="4714" y="8256"/>
                  </a:lnTo>
                  <a:lnTo>
                    <a:pt x="4983" y="8598"/>
                  </a:lnTo>
                  <a:lnTo>
                    <a:pt x="5252" y="8891"/>
                  </a:lnTo>
                  <a:lnTo>
                    <a:pt x="5545" y="9159"/>
                  </a:lnTo>
                  <a:lnTo>
                    <a:pt x="5862" y="9404"/>
                  </a:lnTo>
                  <a:lnTo>
                    <a:pt x="6180" y="9623"/>
                  </a:lnTo>
                  <a:lnTo>
                    <a:pt x="6180" y="10698"/>
                  </a:lnTo>
                  <a:lnTo>
                    <a:pt x="5667" y="10747"/>
                  </a:lnTo>
                  <a:lnTo>
                    <a:pt x="5081" y="10845"/>
                  </a:lnTo>
                  <a:lnTo>
                    <a:pt x="4519" y="10967"/>
                  </a:lnTo>
                  <a:lnTo>
                    <a:pt x="3957" y="11089"/>
                  </a:lnTo>
                  <a:lnTo>
                    <a:pt x="3420" y="11260"/>
                  </a:lnTo>
                  <a:lnTo>
                    <a:pt x="2931" y="11455"/>
                  </a:lnTo>
                  <a:lnTo>
                    <a:pt x="2467" y="11675"/>
                  </a:lnTo>
                  <a:lnTo>
                    <a:pt x="2028" y="11919"/>
                  </a:lnTo>
                  <a:lnTo>
                    <a:pt x="1637" y="12188"/>
                  </a:lnTo>
                  <a:lnTo>
                    <a:pt x="1271" y="12456"/>
                  </a:lnTo>
                  <a:lnTo>
                    <a:pt x="953" y="12774"/>
                  </a:lnTo>
                  <a:lnTo>
                    <a:pt x="684" y="13116"/>
                  </a:lnTo>
                  <a:lnTo>
                    <a:pt x="440" y="13458"/>
                  </a:lnTo>
                  <a:lnTo>
                    <a:pt x="269" y="13849"/>
                  </a:lnTo>
                  <a:lnTo>
                    <a:pt x="123" y="14239"/>
                  </a:lnTo>
                  <a:lnTo>
                    <a:pt x="49" y="14679"/>
                  </a:lnTo>
                  <a:lnTo>
                    <a:pt x="1" y="15119"/>
                  </a:lnTo>
                  <a:lnTo>
                    <a:pt x="49" y="15167"/>
                  </a:lnTo>
                  <a:lnTo>
                    <a:pt x="245" y="15265"/>
                  </a:lnTo>
                  <a:lnTo>
                    <a:pt x="416" y="15338"/>
                  </a:lnTo>
                  <a:lnTo>
                    <a:pt x="636" y="15436"/>
                  </a:lnTo>
                  <a:lnTo>
                    <a:pt x="904" y="15534"/>
                  </a:lnTo>
                  <a:lnTo>
                    <a:pt x="1271" y="15607"/>
                  </a:lnTo>
                  <a:lnTo>
                    <a:pt x="1710" y="15705"/>
                  </a:lnTo>
                  <a:lnTo>
                    <a:pt x="2223" y="15802"/>
                  </a:lnTo>
                  <a:lnTo>
                    <a:pt x="2834" y="15876"/>
                  </a:lnTo>
                  <a:lnTo>
                    <a:pt x="3566" y="15973"/>
                  </a:lnTo>
                  <a:lnTo>
                    <a:pt x="4397" y="16022"/>
                  </a:lnTo>
                  <a:lnTo>
                    <a:pt x="5325" y="16071"/>
                  </a:lnTo>
                  <a:lnTo>
                    <a:pt x="6399" y="16096"/>
                  </a:lnTo>
                  <a:lnTo>
                    <a:pt x="7621" y="16120"/>
                  </a:lnTo>
                  <a:lnTo>
                    <a:pt x="8817" y="16096"/>
                  </a:lnTo>
                  <a:lnTo>
                    <a:pt x="9892" y="16071"/>
                  </a:lnTo>
                  <a:lnTo>
                    <a:pt x="10844" y="16022"/>
                  </a:lnTo>
                  <a:lnTo>
                    <a:pt x="11675" y="15973"/>
                  </a:lnTo>
                  <a:lnTo>
                    <a:pt x="12408" y="15876"/>
                  </a:lnTo>
                  <a:lnTo>
                    <a:pt x="13018" y="15802"/>
                  </a:lnTo>
                  <a:lnTo>
                    <a:pt x="13555" y="15705"/>
                  </a:lnTo>
                  <a:lnTo>
                    <a:pt x="13995" y="15607"/>
                  </a:lnTo>
                  <a:lnTo>
                    <a:pt x="14361" y="15534"/>
                  </a:lnTo>
                  <a:lnTo>
                    <a:pt x="14654" y="15436"/>
                  </a:lnTo>
                  <a:lnTo>
                    <a:pt x="14874" y="15338"/>
                  </a:lnTo>
                  <a:lnTo>
                    <a:pt x="15045" y="15265"/>
                  </a:lnTo>
                  <a:lnTo>
                    <a:pt x="15216" y="15167"/>
                  </a:lnTo>
                  <a:lnTo>
                    <a:pt x="15289" y="15119"/>
                  </a:lnTo>
                  <a:lnTo>
                    <a:pt x="15241" y="14655"/>
                  </a:lnTo>
                  <a:lnTo>
                    <a:pt x="15167" y="14215"/>
                  </a:lnTo>
                  <a:lnTo>
                    <a:pt x="15045" y="13800"/>
                  </a:lnTo>
                  <a:lnTo>
                    <a:pt x="14874" y="13409"/>
                  </a:lnTo>
                  <a:lnTo>
                    <a:pt x="14630" y="13043"/>
                  </a:lnTo>
                  <a:lnTo>
                    <a:pt x="14361" y="12701"/>
                  </a:lnTo>
                  <a:lnTo>
                    <a:pt x="14044" y="12408"/>
                  </a:lnTo>
                  <a:lnTo>
                    <a:pt x="13678" y="12115"/>
                  </a:lnTo>
                  <a:lnTo>
                    <a:pt x="13287" y="11846"/>
                  </a:lnTo>
                  <a:lnTo>
                    <a:pt x="12847" y="11626"/>
                  </a:lnTo>
                  <a:lnTo>
                    <a:pt x="12359" y="11406"/>
                  </a:lnTo>
                  <a:lnTo>
                    <a:pt x="11846" y="11235"/>
                  </a:lnTo>
                  <a:lnTo>
                    <a:pt x="11284" y="11064"/>
                  </a:lnTo>
                  <a:lnTo>
                    <a:pt x="10698" y="10942"/>
                  </a:lnTo>
                  <a:lnTo>
                    <a:pt x="10063" y="10820"/>
                  </a:lnTo>
                  <a:lnTo>
                    <a:pt x="9428" y="10747"/>
                  </a:lnTo>
                  <a:lnTo>
                    <a:pt x="9110" y="10722"/>
                  </a:lnTo>
                  <a:lnTo>
                    <a:pt x="9110" y="9623"/>
                  </a:lnTo>
                  <a:lnTo>
                    <a:pt x="9428" y="9404"/>
                  </a:lnTo>
                  <a:lnTo>
                    <a:pt x="9745" y="9159"/>
                  </a:lnTo>
                  <a:lnTo>
                    <a:pt x="10039" y="8891"/>
                  </a:lnTo>
                  <a:lnTo>
                    <a:pt x="10332" y="8598"/>
                  </a:lnTo>
                  <a:lnTo>
                    <a:pt x="10576" y="8256"/>
                  </a:lnTo>
                  <a:lnTo>
                    <a:pt x="10796" y="7889"/>
                  </a:lnTo>
                  <a:lnTo>
                    <a:pt x="11015" y="7523"/>
                  </a:lnTo>
                  <a:lnTo>
                    <a:pt x="11186" y="7108"/>
                  </a:lnTo>
                  <a:lnTo>
                    <a:pt x="11260" y="7132"/>
                  </a:lnTo>
                  <a:lnTo>
                    <a:pt x="11406" y="7132"/>
                  </a:lnTo>
                  <a:lnTo>
                    <a:pt x="11528" y="7059"/>
                  </a:lnTo>
                  <a:lnTo>
                    <a:pt x="11650" y="6961"/>
                  </a:lnTo>
                  <a:lnTo>
                    <a:pt x="11748" y="6790"/>
                  </a:lnTo>
                  <a:lnTo>
                    <a:pt x="11846" y="6619"/>
                  </a:lnTo>
                  <a:lnTo>
                    <a:pt x="11944" y="6400"/>
                  </a:lnTo>
                  <a:lnTo>
                    <a:pt x="11992" y="6155"/>
                  </a:lnTo>
                  <a:lnTo>
                    <a:pt x="12041" y="5887"/>
                  </a:lnTo>
                  <a:lnTo>
                    <a:pt x="12066" y="5642"/>
                  </a:lnTo>
                  <a:lnTo>
                    <a:pt x="12041" y="5398"/>
                  </a:lnTo>
                  <a:lnTo>
                    <a:pt x="12017" y="5203"/>
                  </a:lnTo>
                  <a:lnTo>
                    <a:pt x="11968" y="5007"/>
                  </a:lnTo>
                  <a:lnTo>
                    <a:pt x="11919" y="4836"/>
                  </a:lnTo>
                  <a:lnTo>
                    <a:pt x="11846" y="4690"/>
                  </a:lnTo>
                  <a:lnTo>
                    <a:pt x="11748" y="4592"/>
                  </a:lnTo>
                  <a:lnTo>
                    <a:pt x="11626" y="4519"/>
                  </a:lnTo>
                  <a:lnTo>
                    <a:pt x="11699" y="4153"/>
                  </a:lnTo>
                  <a:lnTo>
                    <a:pt x="11724" y="3811"/>
                  </a:lnTo>
                  <a:lnTo>
                    <a:pt x="11724" y="3493"/>
                  </a:lnTo>
                  <a:lnTo>
                    <a:pt x="11724" y="3200"/>
                  </a:lnTo>
                  <a:lnTo>
                    <a:pt x="11699" y="2907"/>
                  </a:lnTo>
                  <a:lnTo>
                    <a:pt x="11650" y="2638"/>
                  </a:lnTo>
                  <a:lnTo>
                    <a:pt x="11577" y="2394"/>
                  </a:lnTo>
                  <a:lnTo>
                    <a:pt x="11504" y="2150"/>
                  </a:lnTo>
                  <a:lnTo>
                    <a:pt x="11406" y="1930"/>
                  </a:lnTo>
                  <a:lnTo>
                    <a:pt x="11309" y="1710"/>
                  </a:lnTo>
                  <a:lnTo>
                    <a:pt x="11186" y="1515"/>
                  </a:lnTo>
                  <a:lnTo>
                    <a:pt x="11040" y="1344"/>
                  </a:lnTo>
                  <a:lnTo>
                    <a:pt x="10893" y="1173"/>
                  </a:lnTo>
                  <a:lnTo>
                    <a:pt x="10747" y="1026"/>
                  </a:lnTo>
                  <a:lnTo>
                    <a:pt x="10429" y="758"/>
                  </a:lnTo>
                  <a:lnTo>
                    <a:pt x="10063" y="562"/>
                  </a:lnTo>
                  <a:lnTo>
                    <a:pt x="9697" y="367"/>
                  </a:lnTo>
                  <a:lnTo>
                    <a:pt x="9330" y="245"/>
                  </a:lnTo>
                  <a:lnTo>
                    <a:pt x="8964" y="147"/>
                  </a:lnTo>
                  <a:lnTo>
                    <a:pt x="8598" y="74"/>
                  </a:lnTo>
                  <a:lnTo>
                    <a:pt x="8256" y="25"/>
                  </a:lnTo>
                  <a:lnTo>
                    <a:pt x="793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dk1"/>
                </a:solidFill>
              </a:endParaRPr>
            </a:p>
          </p:txBody>
        </p:sp>
        <p:sp>
          <p:nvSpPr>
            <p:cNvPr id="32" name="TextBox 31">
              <a:extLst>
                <a:ext uri="{FF2B5EF4-FFF2-40B4-BE49-F238E27FC236}">
                  <a16:creationId xmlns:a16="http://schemas.microsoft.com/office/drawing/2014/main" id="{28EBE1FE-30C5-4A94-AAA2-5CA556608820}"/>
                </a:ext>
              </a:extLst>
            </p:cNvPr>
            <p:cNvSpPr txBox="1"/>
            <p:nvPr/>
          </p:nvSpPr>
          <p:spPr>
            <a:xfrm>
              <a:off x="9797675" y="4944148"/>
              <a:ext cx="890950" cy="369332"/>
            </a:xfrm>
            <a:prstGeom prst="rect">
              <a:avLst/>
            </a:prstGeom>
            <a:noFill/>
          </p:spPr>
          <p:txBody>
            <a:bodyPr wrap="none" rtlCol="0">
              <a:spAutoFit/>
            </a:bodyPr>
            <a:lstStyle>
              <a:defPPr marR="0" lvl="0" algn="l" rtl="0">
                <a:lnSpc>
                  <a:spcPct val="100000"/>
                </a:lnSpc>
                <a:spcBef>
                  <a:spcPts val="0"/>
                </a:spcBef>
                <a:spcAft>
                  <a:spcPts val="0"/>
                </a:spcAft>
              </a:defPPr>
              <a:lvl1pPr>
                <a:defRPr sz="1800"/>
              </a:lvl1pPr>
            </a:lstStyle>
            <a:p>
              <a:r>
                <a:rPr lang="en-US" dirty="0"/>
                <a:t>Auditor</a:t>
              </a:r>
            </a:p>
          </p:txBody>
        </p:sp>
      </p:grpSp>
      <p:sp>
        <p:nvSpPr>
          <p:cNvPr id="2" name="Title 1">
            <a:extLst>
              <a:ext uri="{FF2B5EF4-FFF2-40B4-BE49-F238E27FC236}">
                <a16:creationId xmlns:a16="http://schemas.microsoft.com/office/drawing/2014/main" id="{BDAADBA7-F899-FB93-3454-5CE3342AA0C3}"/>
              </a:ext>
            </a:extLst>
          </p:cNvPr>
          <p:cNvSpPr>
            <a:spLocks noGrp="1"/>
          </p:cNvSpPr>
          <p:nvPr>
            <p:ph type="title"/>
          </p:nvPr>
        </p:nvSpPr>
        <p:spPr>
          <a:xfrm>
            <a:off x="1671049" y="130136"/>
            <a:ext cx="9100654" cy="898576"/>
          </a:xfrm>
        </p:spPr>
        <p:txBody>
          <a:bodyPr/>
          <a:lstStyle/>
          <a:p>
            <a:pPr marL="12700">
              <a:spcBef>
                <a:spcPts val="100"/>
              </a:spcBef>
            </a:pPr>
            <a:r>
              <a:rPr lang="en-AU" dirty="0" err="1"/>
              <a:t>Metode</a:t>
            </a:r>
            <a:r>
              <a:rPr lang="en-AU" dirty="0"/>
              <a:t> </a:t>
            </a:r>
            <a:r>
              <a:rPr lang="en-AU" dirty="0" err="1"/>
              <a:t>Akses</a:t>
            </a:r>
            <a:r>
              <a:rPr lang="en-AU" dirty="0"/>
              <a:t> Data</a:t>
            </a:r>
            <a:endParaRPr lang="en-AU" kern="0" spc="-5" dirty="0"/>
          </a:p>
        </p:txBody>
      </p:sp>
    </p:spTree>
    <p:extLst>
      <p:ext uri="{BB962C8B-B14F-4D97-AF65-F5344CB8AC3E}">
        <p14:creationId xmlns:p14="http://schemas.microsoft.com/office/powerpoint/2010/main" val="14712861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A1A0F4-A345-4B79-ACA5-05FCEB0F04D9}"/>
              </a:ext>
            </a:extLst>
          </p:cNvPr>
          <p:cNvSpPr/>
          <p:nvPr/>
        </p:nvSpPr>
        <p:spPr>
          <a:xfrm>
            <a:off x="1206631" y="1676064"/>
            <a:ext cx="4726233" cy="4420468"/>
          </a:xfrm>
          <a:prstGeom prst="rect">
            <a:avLst/>
          </a:prstGeom>
          <a:solidFill>
            <a:srgbClr val="003465">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 Placeholder 6">
            <a:extLst>
              <a:ext uri="{FF2B5EF4-FFF2-40B4-BE49-F238E27FC236}">
                <a16:creationId xmlns:a16="http://schemas.microsoft.com/office/drawing/2014/main" id="{D9B690EC-2FEE-4316-A8F2-7726F49B6465}"/>
              </a:ext>
            </a:extLst>
          </p:cNvPr>
          <p:cNvSpPr>
            <a:spLocks noGrp="1"/>
          </p:cNvSpPr>
          <p:nvPr>
            <p:ph type="body" idx="3"/>
          </p:nvPr>
        </p:nvSpPr>
        <p:spPr>
          <a:xfrm>
            <a:off x="6096001" y="3522547"/>
            <a:ext cx="5869258" cy="1183267"/>
          </a:xfrm>
        </p:spPr>
        <p:txBody>
          <a:bodyPr>
            <a:normAutofit/>
          </a:bodyPr>
          <a:lstStyle/>
          <a:p>
            <a:r>
              <a:rPr lang="en-US" sz="4000" dirty="0"/>
              <a:t>Continuous Audit</a:t>
            </a:r>
          </a:p>
        </p:txBody>
      </p:sp>
      <p:pic>
        <p:nvPicPr>
          <p:cNvPr id="9" name="Picture Placeholder 5">
            <a:extLst>
              <a:ext uri="{FF2B5EF4-FFF2-40B4-BE49-F238E27FC236}">
                <a16:creationId xmlns:a16="http://schemas.microsoft.com/office/drawing/2014/main" id="{A477ADE3-EB05-481F-8D6B-6A70718BB778}"/>
              </a:ext>
            </a:extLst>
          </p:cNvPr>
          <p:cNvPicPr>
            <a:picLocks noChangeAspect="1"/>
          </p:cNvPicPr>
          <p:nvPr/>
        </p:nvPicPr>
        <p:blipFill>
          <a:blip r:embed="rId2">
            <a:extLst>
              <a:ext uri="{BEBA8EAE-BF5A-486C-A8C5-ECC9F3942E4B}">
                <a14:imgProps xmlns:a14="http://schemas.microsoft.com/office/drawing/2010/main">
                  <a14:imgLayer r:embed="rId3">
                    <a14:imgEffect>
                      <a14:saturation sat="92000"/>
                    </a14:imgEffect>
                  </a14:imgLayer>
                </a14:imgProps>
              </a:ext>
            </a:extLst>
          </a:blip>
          <a:srcRect t="18408" b="18408"/>
          <a:stretch>
            <a:fillRect/>
          </a:stretch>
        </p:blipFill>
        <p:spPr>
          <a:xfrm>
            <a:off x="0" y="1496836"/>
            <a:ext cx="4572000" cy="4778923"/>
          </a:xfrm>
          <a:prstGeom prst="rect">
            <a:avLst/>
          </a:prstGeom>
        </p:spPr>
      </p:pic>
    </p:spTree>
    <p:extLst>
      <p:ext uri="{BB962C8B-B14F-4D97-AF65-F5344CB8AC3E}">
        <p14:creationId xmlns:p14="http://schemas.microsoft.com/office/powerpoint/2010/main" val="17147319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nn-NO" dirty="0"/>
              <a:t>Prinsip Umum TABK dan CA</a:t>
            </a:r>
          </a:p>
        </p:txBody>
      </p:sp>
      <p:graphicFrame>
        <p:nvGraphicFramePr>
          <p:cNvPr id="4" name="Diagram 3">
            <a:extLst>
              <a:ext uri="{FF2B5EF4-FFF2-40B4-BE49-F238E27FC236}">
                <a16:creationId xmlns:a16="http://schemas.microsoft.com/office/drawing/2014/main" id="{7E7B87BC-8E38-4F58-B26C-C7D59F2D1D57}"/>
              </a:ext>
            </a:extLst>
          </p:cNvPr>
          <p:cNvGraphicFramePr/>
          <p:nvPr/>
        </p:nvGraphicFramePr>
        <p:xfrm>
          <a:off x="2" y="385590"/>
          <a:ext cx="11939750" cy="59931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194134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A89E6105-477D-9C08-B682-6A4F8E4C2B86}"/>
              </a:ext>
            </a:extLst>
          </p:cNvPr>
          <p:cNvGraphicFramePr/>
          <p:nvPr>
            <p:extLst>
              <p:ext uri="{D42A27DB-BD31-4B8C-83A1-F6EECF244321}">
                <p14:modId xmlns:p14="http://schemas.microsoft.com/office/powerpoint/2010/main" val="1131645627"/>
              </p:ext>
            </p:extLst>
          </p:nvPr>
        </p:nvGraphicFramePr>
        <p:xfrm>
          <a:off x="692150" y="1037063"/>
          <a:ext cx="10807700" cy="535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Google Shape;339;p36">
            <a:extLst>
              <a:ext uri="{FF2B5EF4-FFF2-40B4-BE49-F238E27FC236}">
                <a16:creationId xmlns:a16="http://schemas.microsoft.com/office/drawing/2014/main" id="{BFA1B582-0D27-25DD-FD49-76003DC694AA}"/>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nn-NO" dirty="0"/>
              <a:t>Perencanaan CA bersama Klien Pengawasan</a:t>
            </a:r>
          </a:p>
        </p:txBody>
      </p:sp>
    </p:spTree>
    <p:extLst>
      <p:ext uri="{BB962C8B-B14F-4D97-AF65-F5344CB8AC3E}">
        <p14:creationId xmlns:p14="http://schemas.microsoft.com/office/powerpoint/2010/main" val="1407964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a:t>Model </a:t>
            </a:r>
            <a:r>
              <a:rPr lang="en-US" dirty="0" err="1"/>
              <a:t>Penerapan</a:t>
            </a:r>
            <a:r>
              <a:rPr lang="en-US" dirty="0"/>
              <a:t> CA-CM</a:t>
            </a:r>
          </a:p>
        </p:txBody>
      </p:sp>
      <p:grpSp>
        <p:nvGrpSpPr>
          <p:cNvPr id="4" name="Group 3">
            <a:extLst>
              <a:ext uri="{FF2B5EF4-FFF2-40B4-BE49-F238E27FC236}">
                <a16:creationId xmlns:a16="http://schemas.microsoft.com/office/drawing/2014/main" id="{4878C1AD-FC7B-4E39-9F3C-8863EC57324C}"/>
              </a:ext>
            </a:extLst>
          </p:cNvPr>
          <p:cNvGrpSpPr/>
          <p:nvPr/>
        </p:nvGrpSpPr>
        <p:grpSpPr>
          <a:xfrm>
            <a:off x="-3187168" y="850605"/>
            <a:ext cx="15379168" cy="5641644"/>
            <a:chOff x="-3187168" y="0"/>
            <a:chExt cx="15379168" cy="6496086"/>
          </a:xfrm>
        </p:grpSpPr>
        <p:pic>
          <p:nvPicPr>
            <p:cNvPr id="5" name="Picture 4">
              <a:extLst>
                <a:ext uri="{FF2B5EF4-FFF2-40B4-BE49-F238E27FC236}">
                  <a16:creationId xmlns:a16="http://schemas.microsoft.com/office/drawing/2014/main" id="{A460E8BB-22CF-4D91-9B47-D2E4F5DD55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0156986" y="-3057"/>
              <a:ext cx="2031957" cy="2038071"/>
            </a:xfrm>
            <a:prstGeom prst="rect">
              <a:avLst/>
            </a:prstGeom>
          </p:spPr>
        </p:pic>
        <p:sp>
          <p:nvSpPr>
            <p:cNvPr id="7" name="Arc 6">
              <a:extLst>
                <a:ext uri="{FF2B5EF4-FFF2-40B4-BE49-F238E27FC236}">
                  <a16:creationId xmlns:a16="http://schemas.microsoft.com/office/drawing/2014/main" id="{37B9E10A-4E11-49A2-BA73-43AFC2D657E6}"/>
                </a:ext>
              </a:extLst>
            </p:cNvPr>
            <p:cNvSpPr/>
            <p:nvPr/>
          </p:nvSpPr>
          <p:spPr>
            <a:xfrm rot="5400000">
              <a:off x="-3166736" y="16456"/>
              <a:ext cx="6459198" cy="6500061"/>
            </a:xfrm>
            <a:prstGeom prst="arc">
              <a:avLst>
                <a:gd name="adj1" fmla="val 10507811"/>
                <a:gd name="adj2" fmla="val 162993"/>
              </a:avLst>
            </a:prstGeom>
            <a:solidFill>
              <a:srgbClr val="FFF7E4"/>
            </a:solidFill>
            <a:ln w="57150">
              <a:solidFill>
                <a:srgbClr val="EE682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D" dirty="0">
                <a:latin typeface="Tw Cen MT" panose="020B0602020104020603" pitchFamily="34" charset="0"/>
              </a:endParaRPr>
            </a:p>
          </p:txBody>
        </p:sp>
        <p:sp>
          <p:nvSpPr>
            <p:cNvPr id="8" name="Oval 7">
              <a:extLst>
                <a:ext uri="{FF2B5EF4-FFF2-40B4-BE49-F238E27FC236}">
                  <a16:creationId xmlns:a16="http://schemas.microsoft.com/office/drawing/2014/main" id="{436840A5-045C-4B0E-A47D-6143001C2AE2}"/>
                </a:ext>
              </a:extLst>
            </p:cNvPr>
            <p:cNvSpPr/>
            <p:nvPr/>
          </p:nvSpPr>
          <p:spPr>
            <a:xfrm>
              <a:off x="2721676" y="3911054"/>
              <a:ext cx="956885" cy="956885"/>
            </a:xfrm>
            <a:prstGeom prst="ellipse">
              <a:avLst/>
            </a:prstGeom>
            <a:solidFill>
              <a:schemeClr val="bg1"/>
            </a:solidFill>
            <a:ln w="57150">
              <a:solidFill>
                <a:srgbClr val="0457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latin typeface="Tw Cen MT" panose="020B0602020104020603" pitchFamily="34" charset="0"/>
              </a:endParaRPr>
            </a:p>
          </p:txBody>
        </p:sp>
        <p:sp>
          <p:nvSpPr>
            <p:cNvPr id="9" name="Oval 8">
              <a:extLst>
                <a:ext uri="{FF2B5EF4-FFF2-40B4-BE49-F238E27FC236}">
                  <a16:creationId xmlns:a16="http://schemas.microsoft.com/office/drawing/2014/main" id="{FD4518D6-E026-4D94-9F45-D383F1BB6FD2}"/>
                </a:ext>
              </a:extLst>
            </p:cNvPr>
            <p:cNvSpPr/>
            <p:nvPr/>
          </p:nvSpPr>
          <p:spPr>
            <a:xfrm>
              <a:off x="2835363" y="2023124"/>
              <a:ext cx="956885" cy="956885"/>
            </a:xfrm>
            <a:prstGeom prst="ellipse">
              <a:avLst/>
            </a:prstGeom>
            <a:solidFill>
              <a:schemeClr val="bg1"/>
            </a:solidFill>
            <a:ln w="57150">
              <a:solidFill>
                <a:srgbClr val="0457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latin typeface="Tw Cen MT" panose="020B0602020104020603" pitchFamily="34" charset="0"/>
              </a:endParaRPr>
            </a:p>
          </p:txBody>
        </p:sp>
        <p:sp>
          <p:nvSpPr>
            <p:cNvPr id="10" name="Oval 9">
              <a:extLst>
                <a:ext uri="{FF2B5EF4-FFF2-40B4-BE49-F238E27FC236}">
                  <a16:creationId xmlns:a16="http://schemas.microsoft.com/office/drawing/2014/main" id="{CA97B4EC-306A-4B9F-AC26-AB3E1FB3FA2F}"/>
                </a:ext>
              </a:extLst>
            </p:cNvPr>
            <p:cNvSpPr/>
            <p:nvPr/>
          </p:nvSpPr>
          <p:spPr>
            <a:xfrm>
              <a:off x="1639564" y="355645"/>
              <a:ext cx="956885" cy="956885"/>
            </a:xfrm>
            <a:prstGeom prst="ellipse">
              <a:avLst/>
            </a:prstGeom>
            <a:solidFill>
              <a:schemeClr val="bg1"/>
            </a:solidFill>
            <a:ln w="57150">
              <a:solidFill>
                <a:srgbClr val="0457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latin typeface="Tw Cen MT" panose="020B0602020104020603" pitchFamily="34" charset="0"/>
              </a:endParaRPr>
            </a:p>
          </p:txBody>
        </p:sp>
        <p:sp>
          <p:nvSpPr>
            <p:cNvPr id="11" name="TextBox 10">
              <a:extLst>
                <a:ext uri="{FF2B5EF4-FFF2-40B4-BE49-F238E27FC236}">
                  <a16:creationId xmlns:a16="http://schemas.microsoft.com/office/drawing/2014/main" id="{EE9B02CA-C665-44A5-8591-1D9917FBE1D0}"/>
                </a:ext>
              </a:extLst>
            </p:cNvPr>
            <p:cNvSpPr txBox="1"/>
            <p:nvPr/>
          </p:nvSpPr>
          <p:spPr>
            <a:xfrm>
              <a:off x="199575" y="1528552"/>
              <a:ext cx="2968969" cy="1384995"/>
            </a:xfrm>
            <a:prstGeom prst="rect">
              <a:avLst/>
            </a:prstGeom>
            <a:noFill/>
          </p:spPr>
          <p:txBody>
            <a:bodyPr wrap="square" rtlCol="0">
              <a:spAutoFit/>
            </a:bodyPr>
            <a:lstStyle/>
            <a:p>
              <a:r>
                <a:rPr lang="en-US" sz="2800" b="1" dirty="0" err="1">
                  <a:latin typeface="Tw Cen MT" panose="020B0602020104020603" pitchFamily="34" charset="0"/>
                  <a:ea typeface="Adobe Gothic Std B" panose="020B0800000000000000" pitchFamily="34" charset="-128"/>
                </a:rPr>
                <a:t>Kerangka</a:t>
              </a:r>
              <a:r>
                <a:rPr lang="en-US" sz="2800" b="1" dirty="0">
                  <a:latin typeface="Tw Cen MT" panose="020B0602020104020603" pitchFamily="34" charset="0"/>
                  <a:ea typeface="Adobe Gothic Std B" panose="020B0800000000000000" pitchFamily="34" charset="-128"/>
                </a:rPr>
                <a:t> </a:t>
              </a:r>
              <a:r>
                <a:rPr lang="en-US" sz="2800" b="1" dirty="0" err="1">
                  <a:latin typeface="Tw Cen MT" panose="020B0602020104020603" pitchFamily="34" charset="0"/>
                  <a:ea typeface="Adobe Gothic Std B" panose="020B0800000000000000" pitchFamily="34" charset="-128"/>
                </a:rPr>
                <a:t>Pemanfaatan</a:t>
              </a:r>
              <a:endParaRPr lang="en-US" sz="2800" b="1" dirty="0">
                <a:latin typeface="Tw Cen MT" panose="020B0602020104020603" pitchFamily="34" charset="0"/>
                <a:ea typeface="Adobe Gothic Std B" panose="020B0800000000000000" pitchFamily="34" charset="-128"/>
              </a:endParaRPr>
            </a:p>
            <a:p>
              <a:r>
                <a:rPr lang="en-US" sz="2800" b="1" dirty="0">
                  <a:latin typeface="Tw Cen MT" panose="020B0602020104020603" pitchFamily="34" charset="0"/>
                  <a:ea typeface="Adobe Gothic Std B" panose="020B0800000000000000" pitchFamily="34" charset="-128"/>
                </a:rPr>
                <a:t>CA-CM</a:t>
              </a:r>
            </a:p>
          </p:txBody>
        </p:sp>
        <p:pic>
          <p:nvPicPr>
            <p:cNvPr id="12" name="Picture 2" descr="Cause icon png 5 » PNG Image">
              <a:extLst>
                <a:ext uri="{FF2B5EF4-FFF2-40B4-BE49-F238E27FC236}">
                  <a16:creationId xmlns:a16="http://schemas.microsoft.com/office/drawing/2014/main" id="{F36DCE8C-34B2-4D45-88BF-284875B390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733" y="2824721"/>
              <a:ext cx="1369120" cy="136912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0E65515A-08FE-4AFF-9809-9598E0FE7535}"/>
                </a:ext>
              </a:extLst>
            </p:cNvPr>
            <p:cNvCxnSpPr/>
            <p:nvPr/>
          </p:nvCxnSpPr>
          <p:spPr>
            <a:xfrm flipV="1">
              <a:off x="260618" y="2885013"/>
              <a:ext cx="1706671" cy="2"/>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BF41D5E-ED81-40AD-8101-1674C03F4127}"/>
                </a:ext>
              </a:extLst>
            </p:cNvPr>
            <p:cNvSpPr txBox="1"/>
            <p:nvPr/>
          </p:nvSpPr>
          <p:spPr>
            <a:xfrm>
              <a:off x="3387794" y="726314"/>
              <a:ext cx="7488754" cy="1010012"/>
            </a:xfrm>
            <a:prstGeom prst="rect">
              <a:avLst/>
            </a:prstGeom>
            <a:noFill/>
          </p:spPr>
          <p:txBody>
            <a:bodyPr wrap="square" rtlCol="0">
              <a:spAutoFit/>
            </a:bodyPr>
            <a:lstStyle/>
            <a:p>
              <a:pPr algn="just"/>
              <a:r>
                <a:rPr lang="en-US" sz="1700" dirty="0" err="1">
                  <a:latin typeface="Tw Cen MT" panose="020B0602020104020603" pitchFamily="34" charset="0"/>
                </a:rPr>
                <a:t>dalam</a:t>
              </a:r>
              <a:r>
                <a:rPr lang="en-US" sz="1700" dirty="0">
                  <a:latin typeface="Tw Cen MT" panose="020B0602020104020603" pitchFamily="34" charset="0"/>
                </a:rPr>
                <a:t> </a:t>
              </a:r>
              <a:r>
                <a:rPr lang="en-US" sz="1700" dirty="0" err="1">
                  <a:latin typeface="Tw Cen MT" panose="020B0602020104020603" pitchFamily="34" charset="0"/>
                </a:rPr>
                <a:t>hal</a:t>
              </a:r>
              <a:r>
                <a:rPr lang="en-US" sz="1700" dirty="0">
                  <a:latin typeface="Tw Cen MT" panose="020B0602020104020603" pitchFamily="34" charset="0"/>
                </a:rPr>
                <a:t> </a:t>
              </a:r>
              <a:r>
                <a:rPr lang="en-US" sz="1700" dirty="0" err="1">
                  <a:latin typeface="Tw Cen MT" panose="020B0602020104020603" pitchFamily="34" charset="0"/>
                </a:rPr>
                <a:t>klien</a:t>
              </a:r>
              <a:r>
                <a:rPr lang="en-US" sz="1700" dirty="0">
                  <a:latin typeface="Tw Cen MT" panose="020B0602020104020603" pitchFamily="34" charset="0"/>
                </a:rPr>
                <a:t> </a:t>
              </a:r>
              <a:r>
                <a:rPr lang="en-US" sz="1700" dirty="0" err="1">
                  <a:latin typeface="Tw Cen MT" panose="020B0602020104020603" pitchFamily="34" charset="0"/>
                </a:rPr>
                <a:t>pengawasan</a:t>
              </a:r>
              <a:r>
                <a:rPr lang="en-US" sz="1700" dirty="0">
                  <a:latin typeface="Tw Cen MT" panose="020B0602020104020603" pitchFamily="34" charset="0"/>
                </a:rPr>
                <a:t> </a:t>
              </a:r>
              <a:r>
                <a:rPr lang="en-US" sz="1700" dirty="0" err="1">
                  <a:latin typeface="Tw Cen MT" panose="020B0602020104020603" pitchFamily="34" charset="0"/>
                </a:rPr>
                <a:t>belum</a:t>
              </a:r>
              <a:r>
                <a:rPr lang="en-US" sz="1700" dirty="0">
                  <a:latin typeface="Tw Cen MT" panose="020B0602020104020603" pitchFamily="34" charset="0"/>
                </a:rPr>
                <a:t> </a:t>
              </a:r>
              <a:r>
                <a:rPr lang="en-US" sz="1700" dirty="0" err="1">
                  <a:latin typeface="Tw Cen MT" panose="020B0602020104020603" pitchFamily="34" charset="0"/>
                </a:rPr>
                <a:t>memiliki</a:t>
              </a:r>
              <a:r>
                <a:rPr lang="en-US" sz="1700" dirty="0">
                  <a:latin typeface="Tw Cen MT" panose="020B0602020104020603" pitchFamily="34" charset="0"/>
                </a:rPr>
                <a:t> </a:t>
              </a:r>
              <a:r>
                <a:rPr lang="en-US" sz="1700" dirty="0" err="1">
                  <a:latin typeface="Tw Cen MT" panose="020B0602020104020603" pitchFamily="34" charset="0"/>
                </a:rPr>
                <a:t>mekanisme</a:t>
              </a:r>
              <a:r>
                <a:rPr lang="en-US" sz="1700" dirty="0">
                  <a:latin typeface="Tw Cen MT" panose="020B0602020104020603" pitchFamily="34" charset="0"/>
                </a:rPr>
                <a:t> monitoring (CM), CA auditor </a:t>
              </a:r>
              <a:r>
                <a:rPr lang="en-US" sz="1700" dirty="0" err="1">
                  <a:latin typeface="Tw Cen MT" panose="020B0602020104020603" pitchFamily="34" charset="0"/>
                </a:rPr>
                <a:t>merupakan</a:t>
              </a:r>
              <a:r>
                <a:rPr lang="en-US" sz="1700" dirty="0">
                  <a:latin typeface="Tw Cen MT" panose="020B0602020104020603" pitchFamily="34" charset="0"/>
                </a:rPr>
                <a:t> </a:t>
              </a:r>
              <a:r>
                <a:rPr lang="en-US" sz="1700" b="1" dirty="0" err="1">
                  <a:latin typeface="Tw Cen MT" panose="020B0602020104020603" pitchFamily="34" charset="0"/>
                </a:rPr>
                <a:t>rintisan</a:t>
              </a:r>
              <a:r>
                <a:rPr lang="en-US" sz="1700" b="1" dirty="0">
                  <a:latin typeface="Tw Cen MT" panose="020B0602020104020603" pitchFamily="34" charset="0"/>
                </a:rPr>
                <a:t> </a:t>
              </a:r>
              <a:r>
                <a:rPr lang="en-US" sz="1700" b="1" dirty="0" err="1">
                  <a:latin typeface="Tw Cen MT" panose="020B0602020104020603" pitchFamily="34" charset="0"/>
                </a:rPr>
                <a:t>dalam</a:t>
              </a:r>
              <a:r>
                <a:rPr lang="en-US" sz="1700" b="1" dirty="0">
                  <a:latin typeface="Tw Cen MT" panose="020B0602020104020603" pitchFamily="34" charset="0"/>
                </a:rPr>
                <a:t> </a:t>
              </a:r>
              <a:r>
                <a:rPr lang="en-US" sz="1700" b="1" dirty="0" err="1">
                  <a:latin typeface="Tw Cen MT" panose="020B0602020104020603" pitchFamily="34" charset="0"/>
                </a:rPr>
                <a:t>rangka</a:t>
              </a:r>
              <a:r>
                <a:rPr lang="en-US" sz="1700" b="1" dirty="0">
                  <a:latin typeface="Tw Cen MT" panose="020B0602020104020603" pitchFamily="34" charset="0"/>
                </a:rPr>
                <a:t> </a:t>
              </a:r>
              <a:r>
                <a:rPr lang="en-US" sz="1700" b="1" dirty="0" err="1">
                  <a:latin typeface="Tw Cen MT" panose="020B0602020104020603" pitchFamily="34" charset="0"/>
                </a:rPr>
                <a:t>penerapan</a:t>
              </a:r>
              <a:r>
                <a:rPr lang="en-US" sz="1700" b="1" dirty="0">
                  <a:latin typeface="Tw Cen MT" panose="020B0602020104020603" pitchFamily="34" charset="0"/>
                </a:rPr>
                <a:t> CM</a:t>
              </a:r>
              <a:r>
                <a:rPr lang="en-US" sz="1700" dirty="0">
                  <a:latin typeface="Tw Cen MT" panose="020B0602020104020603" pitchFamily="34" charset="0"/>
                </a:rPr>
                <a:t>, </a:t>
              </a:r>
              <a:r>
                <a:rPr lang="en-US" sz="1700" dirty="0" err="1">
                  <a:latin typeface="Tw Cen MT" panose="020B0602020104020603" pitchFamily="34" charset="0"/>
                </a:rPr>
                <a:t>dhi</a:t>
              </a:r>
              <a:r>
                <a:rPr lang="en-US" sz="1700" dirty="0">
                  <a:latin typeface="Tw Cen MT" panose="020B0602020104020603" pitchFamily="34" charset="0"/>
                </a:rPr>
                <a:t> CA yang </a:t>
              </a:r>
              <a:r>
                <a:rPr lang="en-US" sz="1700" dirty="0" err="1">
                  <a:latin typeface="Tw Cen MT" panose="020B0602020104020603" pitchFamily="34" charset="0"/>
                </a:rPr>
                <a:t>telah</a:t>
              </a:r>
              <a:r>
                <a:rPr lang="en-US" sz="1700" dirty="0">
                  <a:latin typeface="Tw Cen MT" panose="020B0602020104020603" pitchFamily="34" charset="0"/>
                </a:rPr>
                <a:t> </a:t>
              </a:r>
              <a:r>
                <a:rPr lang="en-US" sz="1700" dirty="0" err="1">
                  <a:latin typeface="Tw Cen MT" panose="020B0602020104020603" pitchFamily="34" charset="0"/>
                </a:rPr>
                <a:t>mapan</a:t>
              </a:r>
              <a:r>
                <a:rPr lang="en-US" sz="1700" dirty="0">
                  <a:latin typeface="Tw Cen MT" panose="020B0602020104020603" pitchFamily="34" charset="0"/>
                </a:rPr>
                <a:t> </a:t>
              </a:r>
              <a:r>
                <a:rPr lang="en-US" sz="1700" dirty="0" err="1">
                  <a:latin typeface="Tw Cen MT" panose="020B0602020104020603" pitchFamily="34" charset="0"/>
                </a:rPr>
                <a:t>dapat</a:t>
              </a:r>
              <a:r>
                <a:rPr lang="en-US" sz="1700" dirty="0">
                  <a:latin typeface="Tw Cen MT" panose="020B0602020104020603" pitchFamily="34" charset="0"/>
                </a:rPr>
                <a:t> </a:t>
              </a:r>
              <a:r>
                <a:rPr lang="en-US" sz="1700" dirty="0" err="1">
                  <a:latin typeface="Tw Cen MT" panose="020B0602020104020603" pitchFamily="34" charset="0"/>
                </a:rPr>
                <a:t>disampaikan</a:t>
              </a:r>
              <a:r>
                <a:rPr lang="en-US" sz="1700" dirty="0">
                  <a:latin typeface="Tw Cen MT" panose="020B0602020104020603" pitchFamily="34" charset="0"/>
                </a:rPr>
                <a:t> </a:t>
              </a:r>
              <a:r>
                <a:rPr lang="en-US" sz="1700" dirty="0" err="1">
                  <a:latin typeface="Tw Cen MT" panose="020B0602020104020603" pitchFamily="34" charset="0"/>
                </a:rPr>
                <a:t>kepada</a:t>
              </a:r>
              <a:r>
                <a:rPr lang="en-US" sz="1700" dirty="0">
                  <a:latin typeface="Tw Cen MT" panose="020B0602020104020603" pitchFamily="34" charset="0"/>
                </a:rPr>
                <a:t> </a:t>
              </a:r>
              <a:r>
                <a:rPr lang="en-US" sz="1700" dirty="0" err="1">
                  <a:latin typeface="Tw Cen MT" panose="020B0602020104020603" pitchFamily="34" charset="0"/>
                </a:rPr>
                <a:t>klien</a:t>
              </a:r>
              <a:r>
                <a:rPr lang="en-US" sz="1700" dirty="0">
                  <a:latin typeface="Tw Cen MT" panose="020B0602020104020603" pitchFamily="34" charset="0"/>
                </a:rPr>
                <a:t> </a:t>
              </a:r>
              <a:r>
                <a:rPr lang="en-US" sz="1700" dirty="0" err="1">
                  <a:latin typeface="Tw Cen MT" panose="020B0602020104020603" pitchFamily="34" charset="0"/>
                </a:rPr>
                <a:t>pengawasan</a:t>
              </a:r>
              <a:r>
                <a:rPr lang="en-US" sz="1700" dirty="0">
                  <a:latin typeface="Tw Cen MT" panose="020B0602020104020603" pitchFamily="34" charset="0"/>
                </a:rPr>
                <a:t> </a:t>
              </a:r>
              <a:r>
                <a:rPr lang="en-US" sz="1700" dirty="0" err="1">
                  <a:latin typeface="Tw Cen MT" panose="020B0602020104020603" pitchFamily="34" charset="0"/>
                </a:rPr>
                <a:t>untuk</a:t>
              </a:r>
              <a:r>
                <a:rPr lang="en-US" sz="1700" dirty="0">
                  <a:latin typeface="Tw Cen MT" panose="020B0602020104020603" pitchFamily="34" charset="0"/>
                </a:rPr>
                <a:t> </a:t>
              </a:r>
              <a:r>
                <a:rPr lang="en-US" sz="1700" dirty="0" err="1">
                  <a:latin typeface="Tw Cen MT" panose="020B0602020104020603" pitchFamily="34" charset="0"/>
                </a:rPr>
                <a:t>diadopsi</a:t>
              </a:r>
              <a:r>
                <a:rPr lang="en-US" sz="1700" dirty="0">
                  <a:latin typeface="Tw Cen MT" panose="020B0602020104020603" pitchFamily="34" charset="0"/>
                </a:rPr>
                <a:t> </a:t>
              </a:r>
              <a:r>
                <a:rPr lang="en-US" sz="1700" dirty="0" err="1">
                  <a:latin typeface="Tw Cen MT" panose="020B0602020104020603" pitchFamily="34" charset="0"/>
                </a:rPr>
                <a:t>menjadi</a:t>
              </a:r>
              <a:r>
                <a:rPr lang="en-US" sz="1700" dirty="0">
                  <a:latin typeface="Tw Cen MT" panose="020B0602020104020603" pitchFamily="34" charset="0"/>
                </a:rPr>
                <a:t> CM</a:t>
              </a:r>
              <a:endParaRPr lang="en-GB" sz="1700" dirty="0">
                <a:latin typeface="Tw Cen MT" panose="020B0602020104020603" pitchFamily="34" charset="0"/>
              </a:endParaRPr>
            </a:p>
          </p:txBody>
        </p:sp>
        <p:sp>
          <p:nvSpPr>
            <p:cNvPr id="15" name="TextBox 14">
              <a:extLst>
                <a:ext uri="{FF2B5EF4-FFF2-40B4-BE49-F238E27FC236}">
                  <a16:creationId xmlns:a16="http://schemas.microsoft.com/office/drawing/2014/main" id="{6263833E-5B08-459A-B2ED-81F9A7C76B8D}"/>
                </a:ext>
              </a:extLst>
            </p:cNvPr>
            <p:cNvSpPr txBox="1"/>
            <p:nvPr/>
          </p:nvSpPr>
          <p:spPr>
            <a:xfrm>
              <a:off x="4255870" y="2279278"/>
              <a:ext cx="7655394" cy="1311243"/>
            </a:xfrm>
            <a:prstGeom prst="rect">
              <a:avLst/>
            </a:prstGeom>
            <a:noFill/>
          </p:spPr>
          <p:txBody>
            <a:bodyPr wrap="square" rtlCol="0">
              <a:spAutoFit/>
            </a:bodyPr>
            <a:lstStyle/>
            <a:p>
              <a:pPr algn="just"/>
              <a:r>
                <a:rPr lang="en-US" sz="1700" dirty="0" err="1">
                  <a:latin typeface="Tw Cen MT" panose="020B0602020104020603" pitchFamily="34" charset="0"/>
                </a:rPr>
                <a:t>dalam</a:t>
              </a:r>
              <a:r>
                <a:rPr lang="en-US" sz="1700" dirty="0">
                  <a:latin typeface="Tw Cen MT" panose="020B0602020104020603" pitchFamily="34" charset="0"/>
                </a:rPr>
                <a:t> </a:t>
              </a:r>
              <a:r>
                <a:rPr lang="en-US" sz="1700" dirty="0" err="1">
                  <a:latin typeface="Tw Cen MT" panose="020B0602020104020603" pitchFamily="34" charset="0"/>
                </a:rPr>
                <a:t>hal</a:t>
              </a:r>
              <a:r>
                <a:rPr lang="en-US" sz="1700" dirty="0">
                  <a:latin typeface="Tw Cen MT" panose="020B0602020104020603" pitchFamily="34" charset="0"/>
                </a:rPr>
                <a:t> </a:t>
              </a:r>
              <a:r>
                <a:rPr lang="en-US" sz="1700" dirty="0" err="1">
                  <a:latin typeface="Tw Cen MT" panose="020B0602020104020603" pitchFamily="34" charset="0"/>
                </a:rPr>
                <a:t>klien</a:t>
              </a:r>
              <a:r>
                <a:rPr lang="en-US" sz="1700" dirty="0">
                  <a:latin typeface="Tw Cen MT" panose="020B0602020104020603" pitchFamily="34" charset="0"/>
                </a:rPr>
                <a:t> </a:t>
              </a:r>
              <a:r>
                <a:rPr lang="en-US" sz="1700" dirty="0" err="1">
                  <a:latin typeface="Tw Cen MT" panose="020B0602020104020603" pitchFamily="34" charset="0"/>
                </a:rPr>
                <a:t>pengawasan</a:t>
              </a:r>
              <a:r>
                <a:rPr lang="en-US" sz="1700" dirty="0">
                  <a:latin typeface="Tw Cen MT" panose="020B0602020104020603" pitchFamily="34" charset="0"/>
                </a:rPr>
                <a:t> </a:t>
              </a:r>
              <a:r>
                <a:rPr lang="en-US" sz="1700" dirty="0" err="1">
                  <a:latin typeface="Tw Cen MT" panose="020B0602020104020603" pitchFamily="34" charset="0"/>
                </a:rPr>
                <a:t>sudah</a:t>
              </a:r>
              <a:r>
                <a:rPr lang="en-US" sz="1700" dirty="0">
                  <a:latin typeface="Tw Cen MT" panose="020B0602020104020603" pitchFamily="34" charset="0"/>
                </a:rPr>
                <a:t> </a:t>
              </a:r>
              <a:r>
                <a:rPr lang="en-US" sz="1700" dirty="0" err="1">
                  <a:latin typeface="Tw Cen MT" panose="020B0602020104020603" pitchFamily="34" charset="0"/>
                </a:rPr>
                <a:t>memiliki</a:t>
              </a:r>
              <a:r>
                <a:rPr lang="en-US" sz="1700" dirty="0">
                  <a:latin typeface="Tw Cen MT" panose="020B0602020104020603" pitchFamily="34" charset="0"/>
                </a:rPr>
                <a:t> </a:t>
              </a:r>
              <a:r>
                <a:rPr lang="en-US" sz="1700" dirty="0" err="1">
                  <a:latin typeface="Tw Cen MT" panose="020B0602020104020603" pitchFamily="34" charset="0"/>
                </a:rPr>
                <a:t>mekanisme</a:t>
              </a:r>
              <a:r>
                <a:rPr lang="en-US" sz="1700" dirty="0">
                  <a:latin typeface="Tw Cen MT" panose="020B0602020104020603" pitchFamily="34" charset="0"/>
                </a:rPr>
                <a:t> CM, CA auditor </a:t>
              </a:r>
              <a:r>
                <a:rPr lang="en-US" sz="1700" dirty="0" err="1">
                  <a:latin typeface="Tw Cen MT" panose="020B0602020104020603" pitchFamily="34" charset="0"/>
                </a:rPr>
                <a:t>menjadi</a:t>
              </a:r>
              <a:r>
                <a:rPr lang="en-US" sz="1700" dirty="0">
                  <a:latin typeface="Tw Cen MT" panose="020B0602020104020603" pitchFamily="34" charset="0"/>
                </a:rPr>
                <a:t> </a:t>
              </a:r>
              <a:r>
                <a:rPr lang="en-US" sz="1700" i="1" dirty="0">
                  <a:latin typeface="Tw Cen MT" panose="020B0602020104020603" pitchFamily="34" charset="0"/>
                </a:rPr>
                <a:t>advancement</a:t>
              </a:r>
              <a:r>
                <a:rPr lang="en-US" sz="1700" dirty="0">
                  <a:latin typeface="Tw Cen MT" panose="020B0602020104020603" pitchFamily="34" charset="0"/>
                </a:rPr>
                <a:t> </a:t>
              </a:r>
              <a:r>
                <a:rPr lang="en-US" sz="1700" dirty="0" err="1">
                  <a:latin typeface="Tw Cen MT" panose="020B0602020104020603" pitchFamily="34" charset="0"/>
                </a:rPr>
                <a:t>dari</a:t>
              </a:r>
              <a:r>
                <a:rPr lang="en-US" sz="1700" dirty="0">
                  <a:latin typeface="Tw Cen MT" panose="020B0602020104020603" pitchFamily="34" charset="0"/>
                </a:rPr>
                <a:t> CM yang </a:t>
              </a:r>
              <a:r>
                <a:rPr lang="en-US" sz="1700" dirty="0" err="1">
                  <a:latin typeface="Tw Cen MT" panose="020B0602020104020603" pitchFamily="34" charset="0"/>
                </a:rPr>
                <a:t>sudah</a:t>
              </a:r>
              <a:r>
                <a:rPr lang="en-US" sz="1700" dirty="0">
                  <a:latin typeface="Tw Cen MT" panose="020B0602020104020603" pitchFamily="34" charset="0"/>
                </a:rPr>
                <a:t> </a:t>
              </a:r>
              <a:r>
                <a:rPr lang="en-US" sz="1700" dirty="0" err="1">
                  <a:latin typeface="Tw Cen MT" panose="020B0602020104020603" pitchFamily="34" charset="0"/>
                </a:rPr>
                <a:t>dilaksanakan</a:t>
              </a:r>
              <a:r>
                <a:rPr lang="en-US" sz="1700" dirty="0">
                  <a:latin typeface="Tw Cen MT" panose="020B0602020104020603" pitchFamily="34" charset="0"/>
                </a:rPr>
                <a:t> </a:t>
              </a:r>
              <a:r>
                <a:rPr lang="en-US" sz="1700" dirty="0" err="1">
                  <a:latin typeface="Tw Cen MT" panose="020B0602020104020603" pitchFamily="34" charset="0"/>
                </a:rPr>
                <a:t>klien</a:t>
              </a:r>
              <a:r>
                <a:rPr lang="en-US" sz="1700" dirty="0">
                  <a:latin typeface="Tw Cen MT" panose="020B0602020104020603" pitchFamily="34" charset="0"/>
                </a:rPr>
                <a:t> </a:t>
              </a:r>
              <a:r>
                <a:rPr lang="en-US" sz="1700" dirty="0" err="1">
                  <a:latin typeface="Tw Cen MT" panose="020B0602020104020603" pitchFamily="34" charset="0"/>
                </a:rPr>
                <a:t>pengawasan</a:t>
              </a:r>
              <a:r>
                <a:rPr lang="en-US" sz="1700" dirty="0">
                  <a:latin typeface="Tw Cen MT" panose="020B0602020104020603" pitchFamily="34" charset="0"/>
                </a:rPr>
                <a:t>, </a:t>
              </a:r>
              <a:r>
                <a:rPr lang="en-US" sz="1700" dirty="0" err="1">
                  <a:latin typeface="Tw Cen MT" panose="020B0602020104020603" pitchFamily="34" charset="0"/>
                </a:rPr>
                <a:t>yaitu</a:t>
              </a:r>
              <a:r>
                <a:rPr lang="en-US" sz="1700" dirty="0">
                  <a:latin typeface="Tw Cen MT" panose="020B0602020104020603" pitchFamily="34" charset="0"/>
                </a:rPr>
                <a:t> </a:t>
              </a:r>
              <a:r>
                <a:rPr lang="en-US" sz="1700" b="1" dirty="0" err="1">
                  <a:latin typeface="Tw Cen MT" panose="020B0602020104020603" pitchFamily="34" charset="0"/>
                </a:rPr>
                <a:t>mengidentifikasi</a:t>
              </a:r>
              <a:r>
                <a:rPr lang="en-US" sz="1700" b="1" dirty="0">
                  <a:latin typeface="Tw Cen MT" panose="020B0602020104020603" pitchFamily="34" charset="0"/>
                </a:rPr>
                <a:t> </a:t>
              </a:r>
              <a:r>
                <a:rPr lang="en-US" sz="1700" b="1" dirty="0" err="1">
                  <a:latin typeface="Tw Cen MT" panose="020B0602020104020603" pitchFamily="34" charset="0"/>
                </a:rPr>
                <a:t>dan</a:t>
              </a:r>
              <a:r>
                <a:rPr lang="en-US" sz="1700" b="1" dirty="0">
                  <a:latin typeface="Tw Cen MT" panose="020B0602020104020603" pitchFamily="34" charset="0"/>
                </a:rPr>
                <a:t> </a:t>
              </a:r>
              <a:r>
                <a:rPr lang="en-US" sz="1700" b="1" dirty="0" err="1">
                  <a:latin typeface="Tw Cen MT" panose="020B0602020104020603" pitchFamily="34" charset="0"/>
                </a:rPr>
                <a:t>menguji</a:t>
              </a:r>
              <a:r>
                <a:rPr lang="en-US" sz="1700" b="1" dirty="0">
                  <a:latin typeface="Tw Cen MT" panose="020B0602020104020603" pitchFamily="34" charset="0"/>
                </a:rPr>
                <a:t> </a:t>
              </a:r>
              <a:r>
                <a:rPr lang="en-US" sz="1700" b="1" dirty="0" err="1">
                  <a:latin typeface="Tw Cen MT" panose="020B0602020104020603" pitchFamily="34" charset="0"/>
                </a:rPr>
                <a:t>risiko</a:t>
              </a:r>
              <a:r>
                <a:rPr lang="en-US" sz="1700" b="1" dirty="0">
                  <a:latin typeface="Tw Cen MT" panose="020B0602020104020603" pitchFamily="34" charset="0"/>
                </a:rPr>
                <a:t> </a:t>
              </a:r>
              <a:r>
                <a:rPr lang="en-US" sz="1700" b="1" dirty="0" err="1">
                  <a:latin typeface="Tw Cen MT" panose="020B0602020104020603" pitchFamily="34" charset="0"/>
                </a:rPr>
                <a:t>dan</a:t>
              </a:r>
              <a:r>
                <a:rPr lang="en-US" sz="1700" b="1" dirty="0">
                  <a:latin typeface="Tw Cen MT" panose="020B0602020104020603" pitchFamily="34" charset="0"/>
                </a:rPr>
                <a:t> </a:t>
              </a:r>
              <a:r>
                <a:rPr lang="en-US" sz="1700" b="1" dirty="0" err="1">
                  <a:latin typeface="Tw Cen MT" panose="020B0602020104020603" pitchFamily="34" charset="0"/>
                </a:rPr>
                <a:t>kendali</a:t>
              </a:r>
              <a:r>
                <a:rPr lang="en-US" sz="1700" b="1" dirty="0">
                  <a:latin typeface="Tw Cen MT" panose="020B0602020104020603" pitchFamily="34" charset="0"/>
                </a:rPr>
                <a:t> yang </a:t>
              </a:r>
              <a:r>
                <a:rPr lang="en-US" sz="1700" b="1" dirty="0" err="1">
                  <a:latin typeface="Tw Cen MT" panose="020B0602020104020603" pitchFamily="34" charset="0"/>
                </a:rPr>
                <a:t>belum</a:t>
              </a:r>
              <a:r>
                <a:rPr lang="en-US" sz="1700" b="1" dirty="0">
                  <a:latin typeface="Tw Cen MT" panose="020B0602020104020603" pitchFamily="34" charset="0"/>
                </a:rPr>
                <a:t> </a:t>
              </a:r>
              <a:r>
                <a:rPr lang="en-US" sz="1700" b="1" dirty="0" err="1">
                  <a:latin typeface="Tw Cen MT" panose="020B0602020104020603" pitchFamily="34" charset="0"/>
                </a:rPr>
                <a:t>diidentifikasi</a:t>
              </a:r>
              <a:r>
                <a:rPr lang="en-US" sz="1700" b="1" dirty="0">
                  <a:latin typeface="Tw Cen MT" panose="020B0602020104020603" pitchFamily="34" charset="0"/>
                </a:rPr>
                <a:t> </a:t>
              </a:r>
              <a:r>
                <a:rPr lang="en-US" sz="1700" b="1" dirty="0" err="1">
                  <a:latin typeface="Tw Cen MT" panose="020B0602020104020603" pitchFamily="34" charset="0"/>
                </a:rPr>
                <a:t>pada</a:t>
              </a:r>
              <a:r>
                <a:rPr lang="en-US" sz="1700" b="1" dirty="0">
                  <a:latin typeface="Tw Cen MT" panose="020B0602020104020603" pitchFamily="34" charset="0"/>
                </a:rPr>
                <a:t> CM </a:t>
              </a:r>
              <a:r>
                <a:rPr lang="en-US" sz="1700" b="1" dirty="0" err="1">
                  <a:latin typeface="Tw Cen MT" panose="020B0602020104020603" pitchFamily="34" charset="0"/>
                </a:rPr>
                <a:t>klien</a:t>
              </a:r>
              <a:r>
                <a:rPr lang="en-US" sz="1700" b="1" dirty="0">
                  <a:latin typeface="Tw Cen MT" panose="020B0602020104020603" pitchFamily="34" charset="0"/>
                </a:rPr>
                <a:t> </a:t>
              </a:r>
              <a:r>
                <a:rPr lang="en-US" sz="1700" dirty="0" err="1">
                  <a:latin typeface="Tw Cen MT" panose="020B0602020104020603" pitchFamily="34" charset="0"/>
                </a:rPr>
                <a:t>pengawasan</a:t>
              </a:r>
              <a:endParaRPr lang="en-GB" sz="1700" dirty="0">
                <a:latin typeface="Tw Cen MT" panose="020B0602020104020603" pitchFamily="34" charset="0"/>
              </a:endParaRPr>
            </a:p>
          </p:txBody>
        </p:sp>
        <p:sp>
          <p:nvSpPr>
            <p:cNvPr id="16" name="TextBox 15">
              <a:extLst>
                <a:ext uri="{FF2B5EF4-FFF2-40B4-BE49-F238E27FC236}">
                  <a16:creationId xmlns:a16="http://schemas.microsoft.com/office/drawing/2014/main" id="{16BEA8BC-2E32-4977-BE49-219A54141DC9}"/>
                </a:ext>
              </a:extLst>
            </p:cNvPr>
            <p:cNvSpPr txBox="1"/>
            <p:nvPr/>
          </p:nvSpPr>
          <p:spPr>
            <a:xfrm>
              <a:off x="3362064" y="5751115"/>
              <a:ext cx="8054142" cy="708780"/>
            </a:xfrm>
            <a:prstGeom prst="rect">
              <a:avLst/>
            </a:prstGeom>
            <a:noFill/>
          </p:spPr>
          <p:txBody>
            <a:bodyPr wrap="square" rtlCol="0">
              <a:spAutoFit/>
            </a:bodyPr>
            <a:lstStyle/>
            <a:p>
              <a:pPr algn="just"/>
              <a:r>
                <a:rPr lang="en-US" sz="1700" dirty="0" err="1">
                  <a:latin typeface="Tw Cen MT" panose="020B0602020104020603" pitchFamily="34" charset="0"/>
                </a:rPr>
                <a:t>atas</a:t>
              </a:r>
              <a:r>
                <a:rPr lang="en-US" sz="1700" dirty="0">
                  <a:latin typeface="Tw Cen MT" panose="020B0602020104020603" pitchFamily="34" charset="0"/>
                </a:rPr>
                <a:t> CM yang </a:t>
              </a:r>
              <a:r>
                <a:rPr lang="en-US" sz="1700" dirty="0" err="1">
                  <a:latin typeface="Tw Cen MT" panose="020B0602020104020603" pitchFamily="34" charset="0"/>
                </a:rPr>
                <a:t>sudah</a:t>
              </a:r>
              <a:r>
                <a:rPr lang="en-US" sz="1700" dirty="0">
                  <a:latin typeface="Tw Cen MT" panose="020B0602020104020603" pitchFamily="34" charset="0"/>
                </a:rPr>
                <a:t> </a:t>
              </a:r>
              <a:r>
                <a:rPr lang="en-US" sz="1700" dirty="0" err="1">
                  <a:latin typeface="Tw Cen MT" panose="020B0602020104020603" pitchFamily="34" charset="0"/>
                </a:rPr>
                <a:t>berjalan</a:t>
              </a:r>
              <a:r>
                <a:rPr lang="en-US" sz="1700" dirty="0">
                  <a:latin typeface="Tw Cen MT" panose="020B0602020104020603" pitchFamily="34" charset="0"/>
                </a:rPr>
                <a:t> </a:t>
              </a:r>
              <a:r>
                <a:rPr lang="en-US" sz="1700" dirty="0" err="1">
                  <a:latin typeface="Tw Cen MT" panose="020B0602020104020603" pitchFamily="34" charset="0"/>
                </a:rPr>
                <a:t>dan</a:t>
              </a:r>
              <a:r>
                <a:rPr lang="en-US" sz="1700" dirty="0">
                  <a:latin typeface="Tw Cen MT" panose="020B0602020104020603" pitchFamily="34" charset="0"/>
                </a:rPr>
                <a:t> "valid", </a:t>
              </a:r>
              <a:r>
                <a:rPr lang="en-US" sz="1700" dirty="0" err="1">
                  <a:latin typeface="Tw Cen MT" panose="020B0602020104020603" pitchFamily="34" charset="0"/>
                </a:rPr>
                <a:t>Itjen</a:t>
              </a:r>
              <a:r>
                <a:rPr lang="en-US" sz="1700" dirty="0">
                  <a:latin typeface="Tw Cen MT" panose="020B0602020104020603" pitchFamily="34" charset="0"/>
                </a:rPr>
                <a:t> </a:t>
              </a:r>
              <a:r>
                <a:rPr lang="en-US" sz="1700" dirty="0" err="1">
                  <a:latin typeface="Tw Cen MT" panose="020B0602020104020603" pitchFamily="34" charset="0"/>
                </a:rPr>
                <a:t>berperan</a:t>
              </a:r>
              <a:r>
                <a:rPr lang="en-US" sz="1700" dirty="0">
                  <a:latin typeface="Tw Cen MT" panose="020B0602020104020603" pitchFamily="34" charset="0"/>
                </a:rPr>
                <a:t> </a:t>
              </a:r>
              <a:r>
                <a:rPr lang="en-US" sz="1700" dirty="0" err="1">
                  <a:latin typeface="Tw Cen MT" panose="020B0602020104020603" pitchFamily="34" charset="0"/>
                </a:rPr>
                <a:t>memonitor</a:t>
              </a:r>
              <a:r>
                <a:rPr lang="en-US" sz="1700" dirty="0">
                  <a:latin typeface="Tw Cen MT" panose="020B0602020104020603" pitchFamily="34" charset="0"/>
                </a:rPr>
                <a:t> TL </a:t>
              </a:r>
              <a:r>
                <a:rPr lang="en-US" sz="1700" dirty="0" err="1">
                  <a:latin typeface="Tw Cen MT" panose="020B0602020104020603" pitchFamily="34" charset="0"/>
                </a:rPr>
                <a:t>atas</a:t>
              </a:r>
              <a:r>
                <a:rPr lang="en-US" sz="1700" dirty="0">
                  <a:latin typeface="Tw Cen MT" panose="020B0602020104020603" pitchFamily="34" charset="0"/>
                </a:rPr>
                <a:t> </a:t>
              </a:r>
              <a:r>
                <a:rPr lang="en-US" sz="1700" dirty="0" err="1">
                  <a:latin typeface="Tw Cen MT" panose="020B0602020104020603" pitchFamily="34" charset="0"/>
                </a:rPr>
                <a:t>anomali</a:t>
              </a:r>
              <a:r>
                <a:rPr lang="en-US" sz="1700" dirty="0">
                  <a:latin typeface="Tw Cen MT" panose="020B0602020104020603" pitchFamily="34" charset="0"/>
                </a:rPr>
                <a:t> yang </a:t>
              </a:r>
              <a:r>
                <a:rPr lang="en-US" sz="1700" dirty="0" err="1">
                  <a:latin typeface="Tw Cen MT" panose="020B0602020104020603" pitchFamily="34" charset="0"/>
                </a:rPr>
                <a:t>ditemukan</a:t>
              </a:r>
              <a:r>
                <a:rPr lang="en-US" sz="1700" dirty="0">
                  <a:latin typeface="Tw Cen MT" panose="020B0602020104020603" pitchFamily="34" charset="0"/>
                </a:rPr>
                <a:t> </a:t>
              </a:r>
              <a:r>
                <a:rPr lang="en-US" sz="1700" dirty="0" err="1">
                  <a:latin typeface="Tw Cen MT" panose="020B0602020104020603" pitchFamily="34" charset="0"/>
                </a:rPr>
                <a:t>oleh</a:t>
              </a:r>
              <a:r>
                <a:rPr lang="en-US" sz="1700" dirty="0">
                  <a:latin typeface="Tw Cen MT" panose="020B0602020104020603" pitchFamily="34" charset="0"/>
                </a:rPr>
                <a:t> CM </a:t>
              </a:r>
              <a:r>
                <a:rPr lang="en-US" sz="1700" dirty="0" err="1">
                  <a:latin typeface="Tw Cen MT" panose="020B0602020104020603" pitchFamily="34" charset="0"/>
                </a:rPr>
                <a:t>klien</a:t>
              </a:r>
              <a:r>
                <a:rPr lang="en-US" sz="1700" dirty="0">
                  <a:latin typeface="Tw Cen MT" panose="020B0602020104020603" pitchFamily="34" charset="0"/>
                </a:rPr>
                <a:t> </a:t>
              </a:r>
              <a:r>
                <a:rPr lang="en-US" sz="1700" dirty="0" err="1">
                  <a:latin typeface="Tw Cen MT" panose="020B0602020104020603" pitchFamily="34" charset="0"/>
                </a:rPr>
                <a:t>pengawasan</a:t>
              </a:r>
              <a:endParaRPr lang="en-GB" sz="1700" dirty="0">
                <a:latin typeface="Tw Cen MT" panose="020B0602020104020603" pitchFamily="34" charset="0"/>
              </a:endParaRPr>
            </a:p>
          </p:txBody>
        </p:sp>
        <p:sp>
          <p:nvSpPr>
            <p:cNvPr id="17" name="TextBox 16">
              <a:extLst>
                <a:ext uri="{FF2B5EF4-FFF2-40B4-BE49-F238E27FC236}">
                  <a16:creationId xmlns:a16="http://schemas.microsoft.com/office/drawing/2014/main" id="{02892AFA-F924-4325-B459-FE4E5DAEA8F3}"/>
                </a:ext>
              </a:extLst>
            </p:cNvPr>
            <p:cNvSpPr txBox="1"/>
            <p:nvPr/>
          </p:nvSpPr>
          <p:spPr>
            <a:xfrm>
              <a:off x="3299658" y="240632"/>
              <a:ext cx="3101142" cy="400110"/>
            </a:xfrm>
            <a:prstGeom prst="rect">
              <a:avLst/>
            </a:prstGeom>
            <a:noFill/>
          </p:spPr>
          <p:txBody>
            <a:bodyPr wrap="square" rtlCol="0">
              <a:spAutoFit/>
            </a:bodyPr>
            <a:lstStyle/>
            <a:p>
              <a:r>
                <a:rPr lang="en-GB" sz="2000" b="1" dirty="0" err="1">
                  <a:latin typeface="Tw Cen MT" panose="020B0602020104020603" pitchFamily="34" charset="0"/>
                </a:rPr>
                <a:t>Inisiasi</a:t>
              </a:r>
              <a:endParaRPr lang="en-GB" sz="2000" b="1" i="1" dirty="0">
                <a:latin typeface="Tw Cen MT" panose="020B0602020104020603" pitchFamily="34" charset="0"/>
              </a:endParaRPr>
            </a:p>
          </p:txBody>
        </p:sp>
        <p:cxnSp>
          <p:nvCxnSpPr>
            <p:cNvPr id="18" name="Straight Connector 17">
              <a:extLst>
                <a:ext uri="{FF2B5EF4-FFF2-40B4-BE49-F238E27FC236}">
                  <a16:creationId xmlns:a16="http://schemas.microsoft.com/office/drawing/2014/main" id="{1ABC2491-9824-43DA-AB86-2942A0C53FD4}"/>
                </a:ext>
              </a:extLst>
            </p:cNvPr>
            <p:cNvCxnSpPr/>
            <p:nvPr/>
          </p:nvCxnSpPr>
          <p:spPr>
            <a:xfrm>
              <a:off x="3387793" y="683528"/>
              <a:ext cx="2724249"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E7FE51A-F3F9-4E12-B0F6-3EDD97E09AB8}"/>
                </a:ext>
              </a:extLst>
            </p:cNvPr>
            <p:cNvSpPr txBox="1"/>
            <p:nvPr/>
          </p:nvSpPr>
          <p:spPr>
            <a:xfrm>
              <a:off x="4255868" y="1868113"/>
              <a:ext cx="4354731" cy="400110"/>
            </a:xfrm>
            <a:prstGeom prst="rect">
              <a:avLst/>
            </a:prstGeom>
            <a:noFill/>
          </p:spPr>
          <p:txBody>
            <a:bodyPr wrap="square" rtlCol="0">
              <a:spAutoFit/>
            </a:bodyPr>
            <a:lstStyle/>
            <a:p>
              <a:r>
                <a:rPr lang="en-GB" sz="2000" b="1" dirty="0" err="1">
                  <a:latin typeface="Tw Cen MT" panose="020B0602020104020603" pitchFamily="34" charset="0"/>
                </a:rPr>
                <a:t>Peningkatan</a:t>
              </a:r>
              <a:r>
                <a:rPr lang="en-GB" sz="2000" b="1" dirty="0">
                  <a:latin typeface="Tw Cen MT" panose="020B0602020104020603" pitchFamily="34" charset="0"/>
                </a:rPr>
                <a:t> (</a:t>
              </a:r>
              <a:r>
                <a:rPr lang="en-GB" sz="2000" b="1" i="1" dirty="0">
                  <a:latin typeface="Tw Cen MT" panose="020B0602020104020603" pitchFamily="34" charset="0"/>
                </a:rPr>
                <a:t>advancement</a:t>
              </a:r>
              <a:r>
                <a:rPr lang="en-GB" sz="2000" b="1" dirty="0">
                  <a:latin typeface="Tw Cen MT" panose="020B0602020104020603" pitchFamily="34" charset="0"/>
                </a:rPr>
                <a:t>)</a:t>
              </a:r>
              <a:endParaRPr lang="en-GB" sz="2000" b="1" i="1" dirty="0">
                <a:latin typeface="Tw Cen MT" panose="020B0602020104020603" pitchFamily="34" charset="0"/>
              </a:endParaRPr>
            </a:p>
          </p:txBody>
        </p:sp>
        <p:cxnSp>
          <p:nvCxnSpPr>
            <p:cNvPr id="20" name="Straight Connector 19">
              <a:extLst>
                <a:ext uri="{FF2B5EF4-FFF2-40B4-BE49-F238E27FC236}">
                  <a16:creationId xmlns:a16="http://schemas.microsoft.com/office/drawing/2014/main" id="{AB58F0AD-A41E-4AE4-86F5-F42B53D3E668}"/>
                </a:ext>
              </a:extLst>
            </p:cNvPr>
            <p:cNvCxnSpPr/>
            <p:nvPr/>
          </p:nvCxnSpPr>
          <p:spPr>
            <a:xfrm flipV="1">
              <a:off x="4277906" y="2263855"/>
              <a:ext cx="2230871" cy="1019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C7B7F55-D645-4FD9-8548-11B2AFCB811C}"/>
                </a:ext>
              </a:extLst>
            </p:cNvPr>
            <p:cNvSpPr txBox="1"/>
            <p:nvPr/>
          </p:nvSpPr>
          <p:spPr>
            <a:xfrm>
              <a:off x="3312895" y="5282598"/>
              <a:ext cx="4063971" cy="400110"/>
            </a:xfrm>
            <a:prstGeom prst="rect">
              <a:avLst/>
            </a:prstGeom>
            <a:noFill/>
          </p:spPr>
          <p:txBody>
            <a:bodyPr wrap="square" rtlCol="0">
              <a:spAutoFit/>
            </a:bodyPr>
            <a:lstStyle/>
            <a:p>
              <a:r>
                <a:rPr lang="en-GB" sz="2000" b="1" dirty="0" err="1">
                  <a:latin typeface="Tw Cen MT" panose="020B0602020104020603" pitchFamily="34" charset="0"/>
                </a:rPr>
                <a:t>Pemantauan</a:t>
              </a:r>
              <a:endParaRPr lang="en-GB" sz="2000" b="1" i="1" dirty="0">
                <a:latin typeface="Tw Cen MT" panose="020B0602020104020603" pitchFamily="34" charset="0"/>
              </a:endParaRPr>
            </a:p>
          </p:txBody>
        </p:sp>
        <p:cxnSp>
          <p:nvCxnSpPr>
            <p:cNvPr id="22" name="Straight Connector 21">
              <a:extLst>
                <a:ext uri="{FF2B5EF4-FFF2-40B4-BE49-F238E27FC236}">
                  <a16:creationId xmlns:a16="http://schemas.microsoft.com/office/drawing/2014/main" id="{EC4FCC76-EB11-4F32-92B4-E29550C73701}"/>
                </a:ext>
              </a:extLst>
            </p:cNvPr>
            <p:cNvCxnSpPr/>
            <p:nvPr/>
          </p:nvCxnSpPr>
          <p:spPr>
            <a:xfrm flipV="1">
              <a:off x="3392760" y="5660908"/>
              <a:ext cx="3008040" cy="356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E745D07-E7A3-4024-8A0D-9330C05CCA0E}"/>
                </a:ext>
              </a:extLst>
            </p:cNvPr>
            <p:cNvSpPr txBox="1"/>
            <p:nvPr/>
          </p:nvSpPr>
          <p:spPr>
            <a:xfrm>
              <a:off x="4255870" y="4176661"/>
              <a:ext cx="7655394" cy="1010012"/>
            </a:xfrm>
            <a:prstGeom prst="rect">
              <a:avLst/>
            </a:prstGeom>
            <a:noFill/>
          </p:spPr>
          <p:txBody>
            <a:bodyPr wrap="square" rtlCol="0">
              <a:spAutoFit/>
            </a:bodyPr>
            <a:lstStyle/>
            <a:p>
              <a:pPr algn="just"/>
              <a:r>
                <a:rPr lang="en-US" sz="1700" dirty="0" err="1">
                  <a:latin typeface="Tw Cen MT" panose="020B0602020104020603" pitchFamily="34" charset="0"/>
                </a:rPr>
                <a:t>atas</a:t>
              </a:r>
              <a:r>
                <a:rPr lang="en-US" sz="1700" dirty="0">
                  <a:latin typeface="Tw Cen MT" panose="020B0602020104020603" pitchFamily="34" charset="0"/>
                </a:rPr>
                <a:t> CM yang </a:t>
              </a:r>
              <a:r>
                <a:rPr lang="en-US" sz="1700" dirty="0" err="1">
                  <a:latin typeface="Tw Cen MT" panose="020B0602020104020603" pitchFamily="34" charset="0"/>
                </a:rPr>
                <a:t>sudah</a:t>
              </a:r>
              <a:r>
                <a:rPr lang="en-US" sz="1700" dirty="0">
                  <a:latin typeface="Tw Cen MT" panose="020B0602020104020603" pitchFamily="34" charset="0"/>
                </a:rPr>
                <a:t> </a:t>
              </a:r>
              <a:r>
                <a:rPr lang="en-US" sz="1700" dirty="0" err="1">
                  <a:latin typeface="Tw Cen MT" panose="020B0602020104020603" pitchFamily="34" charset="0"/>
                </a:rPr>
                <a:t>berjalan</a:t>
              </a:r>
              <a:r>
                <a:rPr lang="en-US" sz="1700" dirty="0">
                  <a:latin typeface="Tw Cen MT" panose="020B0602020104020603" pitchFamily="34" charset="0"/>
                </a:rPr>
                <a:t>, CA </a:t>
              </a:r>
              <a:r>
                <a:rPr lang="en-US" sz="1700" dirty="0" err="1">
                  <a:latin typeface="Tw Cen MT" panose="020B0602020104020603" pitchFamily="34" charset="0"/>
                </a:rPr>
                <a:t>Itjen</a:t>
              </a:r>
              <a:r>
                <a:rPr lang="en-US" sz="1700" dirty="0">
                  <a:latin typeface="Tw Cen MT" panose="020B0602020104020603" pitchFamily="34" charset="0"/>
                </a:rPr>
                <a:t> </a:t>
              </a:r>
              <a:r>
                <a:rPr lang="en-US" sz="1700" dirty="0" err="1">
                  <a:latin typeface="Tw Cen MT" panose="020B0602020104020603" pitchFamily="34" charset="0"/>
                </a:rPr>
                <a:t>sekaligus</a:t>
              </a:r>
              <a:r>
                <a:rPr lang="en-US" sz="1700" dirty="0">
                  <a:latin typeface="Tw Cen MT" panose="020B0602020104020603" pitchFamily="34" charset="0"/>
                </a:rPr>
                <a:t> </a:t>
              </a:r>
              <a:r>
                <a:rPr lang="en-US" sz="1700" dirty="0" err="1">
                  <a:latin typeface="Tw Cen MT" panose="020B0602020104020603" pitchFamily="34" charset="0"/>
                </a:rPr>
                <a:t>dapat</a:t>
              </a:r>
              <a:r>
                <a:rPr lang="en-US" sz="1700" dirty="0">
                  <a:latin typeface="Tw Cen MT" panose="020B0602020104020603" pitchFamily="34" charset="0"/>
                </a:rPr>
                <a:t> </a:t>
              </a:r>
              <a:r>
                <a:rPr lang="en-US" sz="1700" dirty="0" err="1">
                  <a:latin typeface="Tw Cen MT" panose="020B0602020104020603" pitchFamily="34" charset="0"/>
                </a:rPr>
                <a:t>berfungsi</a:t>
              </a:r>
              <a:r>
                <a:rPr lang="en-US" sz="1700" dirty="0">
                  <a:latin typeface="Tw Cen MT" panose="020B0602020104020603" pitchFamily="34" charset="0"/>
                </a:rPr>
                <a:t> </a:t>
              </a:r>
              <a:r>
                <a:rPr lang="en-US" sz="1700" dirty="0" err="1">
                  <a:latin typeface="Tw Cen MT" panose="020B0602020104020603" pitchFamily="34" charset="0"/>
                </a:rPr>
                <a:t>sebagai</a:t>
              </a:r>
              <a:r>
                <a:rPr lang="en-US" sz="1700" dirty="0">
                  <a:latin typeface="Tw Cen MT" panose="020B0602020104020603" pitchFamily="34" charset="0"/>
                </a:rPr>
                <a:t>  </a:t>
              </a:r>
              <a:r>
                <a:rPr lang="en-US" sz="1700" dirty="0" err="1">
                  <a:latin typeface="Tw Cen MT" panose="020B0602020104020603" pitchFamily="34" charset="0"/>
                </a:rPr>
                <a:t>validasi</a:t>
              </a:r>
              <a:r>
                <a:rPr lang="en-US" sz="1700" dirty="0">
                  <a:latin typeface="Tw Cen MT" panose="020B0602020104020603" pitchFamily="34" charset="0"/>
                </a:rPr>
                <a:t> </a:t>
              </a:r>
              <a:r>
                <a:rPr lang="en-US" sz="1700" dirty="0" err="1">
                  <a:latin typeface="Tw Cen MT" panose="020B0602020104020603" pitchFamily="34" charset="0"/>
                </a:rPr>
                <a:t>atas</a:t>
              </a:r>
              <a:r>
                <a:rPr lang="en-US" sz="1700" dirty="0">
                  <a:latin typeface="Tw Cen MT" panose="020B0602020104020603" pitchFamily="34" charset="0"/>
                </a:rPr>
                <a:t> CM </a:t>
              </a:r>
              <a:r>
                <a:rPr lang="en-US" sz="1700" dirty="0" err="1">
                  <a:latin typeface="Tw Cen MT" panose="020B0602020104020603" pitchFamily="34" charset="0"/>
                </a:rPr>
                <a:t>dimaksud</a:t>
              </a:r>
              <a:r>
                <a:rPr lang="en-US" sz="1700" dirty="0">
                  <a:latin typeface="Tw Cen MT" panose="020B0602020104020603" pitchFamily="34" charset="0"/>
                </a:rPr>
                <a:t> (auditor </a:t>
              </a:r>
              <a:r>
                <a:rPr lang="en-US" sz="1700" dirty="0" err="1">
                  <a:latin typeface="Tw Cen MT" panose="020B0602020104020603" pitchFamily="34" charset="0"/>
                </a:rPr>
                <a:t>mengevaluasi</a:t>
              </a:r>
              <a:r>
                <a:rPr lang="en-US" sz="1700" dirty="0">
                  <a:latin typeface="Tw Cen MT" panose="020B0602020104020603" pitchFamily="34" charset="0"/>
                </a:rPr>
                <a:t> CM </a:t>
              </a:r>
              <a:r>
                <a:rPr lang="en-US" sz="1700" dirty="0" err="1">
                  <a:latin typeface="Tw Cen MT" panose="020B0602020104020603" pitchFamily="34" charset="0"/>
                </a:rPr>
                <a:t>klien</a:t>
              </a:r>
              <a:r>
                <a:rPr lang="en-US" sz="1700" dirty="0">
                  <a:latin typeface="Tw Cen MT" panose="020B0602020104020603" pitchFamily="34" charset="0"/>
                </a:rPr>
                <a:t> </a:t>
              </a:r>
              <a:r>
                <a:rPr lang="en-US" sz="1700" dirty="0" err="1">
                  <a:latin typeface="Tw Cen MT" panose="020B0602020104020603" pitchFamily="34" charset="0"/>
                </a:rPr>
                <a:t>pengawasan</a:t>
              </a:r>
              <a:r>
                <a:rPr lang="en-US" sz="1700" dirty="0">
                  <a:latin typeface="Tw Cen MT" panose="020B0602020104020603" pitchFamily="34" charset="0"/>
                </a:rPr>
                <a:t>); </a:t>
              </a:r>
              <a:r>
                <a:rPr lang="en-US" sz="1700" dirty="0" err="1">
                  <a:latin typeface="Tw Cen MT" panose="020B0602020104020603" pitchFamily="34" charset="0"/>
                </a:rPr>
                <a:t>dalam</a:t>
              </a:r>
              <a:r>
                <a:rPr lang="en-US" sz="1700" dirty="0">
                  <a:latin typeface="Tw Cen MT" panose="020B0602020104020603" pitchFamily="34" charset="0"/>
                </a:rPr>
                <a:t> </a:t>
              </a:r>
              <a:r>
                <a:rPr lang="en-US" sz="1700" dirty="0" err="1">
                  <a:latin typeface="Tw Cen MT" panose="020B0602020104020603" pitchFamily="34" charset="0"/>
                </a:rPr>
                <a:t>hal</a:t>
              </a:r>
              <a:r>
                <a:rPr lang="en-US" sz="1700" dirty="0">
                  <a:latin typeface="Tw Cen MT" panose="020B0602020104020603" pitchFamily="34" charset="0"/>
                </a:rPr>
                <a:t> </a:t>
              </a:r>
              <a:r>
                <a:rPr lang="en-US" sz="1700" dirty="0" err="1">
                  <a:latin typeface="Tw Cen MT" panose="020B0602020104020603" pitchFamily="34" charset="0"/>
                </a:rPr>
                <a:t>terdapat</a:t>
              </a:r>
              <a:r>
                <a:rPr lang="en-US" sz="1700" dirty="0">
                  <a:latin typeface="Tw Cen MT" panose="020B0602020104020603" pitchFamily="34" charset="0"/>
                </a:rPr>
                <a:t> </a:t>
              </a:r>
              <a:r>
                <a:rPr lang="en-US" sz="1700" dirty="0" err="1">
                  <a:latin typeface="Tw Cen MT" panose="020B0602020104020603" pitchFamily="34" charset="0"/>
                </a:rPr>
                <a:t>deviasi</a:t>
              </a:r>
              <a:r>
                <a:rPr lang="en-US" sz="1700" dirty="0">
                  <a:latin typeface="Tw Cen MT" panose="020B0602020104020603" pitchFamily="34" charset="0"/>
                </a:rPr>
                <a:t>, </a:t>
              </a:r>
              <a:r>
                <a:rPr lang="en-US" sz="1700" dirty="0" err="1">
                  <a:latin typeface="Tw Cen MT" panose="020B0602020104020603" pitchFamily="34" charset="0"/>
                </a:rPr>
                <a:t>maka</a:t>
              </a:r>
              <a:r>
                <a:rPr lang="en-US" sz="1700" dirty="0">
                  <a:latin typeface="Tw Cen MT" panose="020B0602020104020603" pitchFamily="34" charset="0"/>
                </a:rPr>
                <a:t> </a:t>
              </a:r>
              <a:r>
                <a:rPr lang="en-US" sz="1700" dirty="0" err="1">
                  <a:latin typeface="Tw Cen MT" panose="020B0602020104020603" pitchFamily="34" charset="0"/>
                </a:rPr>
                <a:t>perlu</a:t>
              </a:r>
              <a:r>
                <a:rPr lang="en-US" sz="1700" dirty="0">
                  <a:latin typeface="Tw Cen MT" panose="020B0602020104020603" pitchFamily="34" charset="0"/>
                </a:rPr>
                <a:t> </a:t>
              </a:r>
              <a:r>
                <a:rPr lang="en-US" sz="1700" dirty="0" err="1">
                  <a:latin typeface="Tw Cen MT" panose="020B0602020104020603" pitchFamily="34" charset="0"/>
                </a:rPr>
                <a:t>dilakukan</a:t>
              </a:r>
              <a:r>
                <a:rPr lang="en-US" sz="1700" dirty="0">
                  <a:latin typeface="Tw Cen MT" panose="020B0602020104020603" pitchFamily="34" charset="0"/>
                </a:rPr>
                <a:t> </a:t>
              </a:r>
              <a:r>
                <a:rPr lang="en-US" sz="1700" dirty="0" err="1">
                  <a:latin typeface="Tw Cen MT" panose="020B0602020104020603" pitchFamily="34" charset="0"/>
                </a:rPr>
                <a:t>analisis</a:t>
              </a:r>
              <a:r>
                <a:rPr lang="en-US" sz="1700" dirty="0">
                  <a:latin typeface="Tw Cen MT" panose="020B0602020104020603" pitchFamily="34" charset="0"/>
                </a:rPr>
                <a:t>/</a:t>
              </a:r>
              <a:r>
                <a:rPr lang="en-US" sz="1700" dirty="0" err="1">
                  <a:latin typeface="Tw Cen MT" panose="020B0602020104020603" pitchFamily="34" charset="0"/>
                </a:rPr>
                <a:t>pengujian</a:t>
              </a:r>
              <a:r>
                <a:rPr lang="en-US" sz="1700" dirty="0">
                  <a:latin typeface="Tw Cen MT" panose="020B0602020104020603" pitchFamily="34" charset="0"/>
                </a:rPr>
                <a:t> </a:t>
              </a:r>
              <a:r>
                <a:rPr lang="en-US" sz="1700" dirty="0" err="1">
                  <a:latin typeface="Tw Cen MT" panose="020B0602020104020603" pitchFamily="34" charset="0"/>
                </a:rPr>
                <a:t>lanjutan</a:t>
              </a:r>
              <a:endParaRPr lang="en-GB" sz="1700" dirty="0">
                <a:latin typeface="Tw Cen MT" panose="020B0602020104020603" pitchFamily="34" charset="0"/>
              </a:endParaRPr>
            </a:p>
          </p:txBody>
        </p:sp>
        <p:sp>
          <p:nvSpPr>
            <p:cNvPr id="24" name="TextBox 23">
              <a:extLst>
                <a:ext uri="{FF2B5EF4-FFF2-40B4-BE49-F238E27FC236}">
                  <a16:creationId xmlns:a16="http://schemas.microsoft.com/office/drawing/2014/main" id="{BB4E830D-62C5-4268-B60A-59139B13F8FB}"/>
                </a:ext>
              </a:extLst>
            </p:cNvPr>
            <p:cNvSpPr txBox="1"/>
            <p:nvPr/>
          </p:nvSpPr>
          <p:spPr>
            <a:xfrm>
              <a:off x="4255868" y="3765497"/>
              <a:ext cx="4354731" cy="400110"/>
            </a:xfrm>
            <a:prstGeom prst="rect">
              <a:avLst/>
            </a:prstGeom>
            <a:noFill/>
          </p:spPr>
          <p:txBody>
            <a:bodyPr wrap="square" rtlCol="0">
              <a:spAutoFit/>
            </a:bodyPr>
            <a:lstStyle/>
            <a:p>
              <a:r>
                <a:rPr lang="en-GB" sz="2000" b="1" dirty="0" err="1">
                  <a:latin typeface="Tw Cen MT" panose="020B0602020104020603" pitchFamily="34" charset="0"/>
                </a:rPr>
                <a:t>Validasi</a:t>
              </a:r>
              <a:r>
                <a:rPr lang="en-GB" sz="2000" b="1" dirty="0">
                  <a:latin typeface="Tw Cen MT" panose="020B0602020104020603" pitchFamily="34" charset="0"/>
                </a:rPr>
                <a:t> </a:t>
              </a:r>
              <a:endParaRPr lang="en-GB" sz="2000" b="1" i="1" dirty="0">
                <a:latin typeface="Tw Cen MT" panose="020B0602020104020603" pitchFamily="34" charset="0"/>
              </a:endParaRPr>
            </a:p>
          </p:txBody>
        </p:sp>
        <p:cxnSp>
          <p:nvCxnSpPr>
            <p:cNvPr id="25" name="Straight Connector 24">
              <a:extLst>
                <a:ext uri="{FF2B5EF4-FFF2-40B4-BE49-F238E27FC236}">
                  <a16:creationId xmlns:a16="http://schemas.microsoft.com/office/drawing/2014/main" id="{1E1ED5E4-CD4E-4B08-8D7A-C4234D71CAC5}"/>
                </a:ext>
              </a:extLst>
            </p:cNvPr>
            <p:cNvCxnSpPr/>
            <p:nvPr/>
          </p:nvCxnSpPr>
          <p:spPr>
            <a:xfrm flipV="1">
              <a:off x="4277906" y="4161238"/>
              <a:ext cx="2230871" cy="10194"/>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26" name="Picture 4" descr="Achievement - Free marketing icons">
              <a:extLst>
                <a:ext uri="{FF2B5EF4-FFF2-40B4-BE49-F238E27FC236}">
                  <a16:creationId xmlns:a16="http://schemas.microsoft.com/office/drawing/2014/main" id="{1CE275FD-1F98-4C75-B301-75CEE52D0CE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72333" y="599114"/>
              <a:ext cx="483412" cy="48341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9DF93112-9459-45D2-9C02-460C324C619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23467" y="2141788"/>
              <a:ext cx="765364" cy="765364"/>
            </a:xfrm>
            <a:prstGeom prst="ellipse">
              <a:avLst/>
            </a:prstGeom>
          </p:spPr>
        </p:pic>
        <p:pic>
          <p:nvPicPr>
            <p:cNvPr id="28" name="Picture 2" descr="Penerapan Sanksi Adminstrasi Untuk Para Eksportir dan Importir Nakal">
              <a:extLst>
                <a:ext uri="{FF2B5EF4-FFF2-40B4-BE49-F238E27FC236}">
                  <a16:creationId xmlns:a16="http://schemas.microsoft.com/office/drawing/2014/main" id="{5E36C6DA-9252-4416-8B3D-A146F230213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00791" y="4075018"/>
              <a:ext cx="675517" cy="651555"/>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5F93068C-6EB2-435D-AF86-7AD07126992D}"/>
                </a:ext>
              </a:extLst>
            </p:cNvPr>
            <p:cNvSpPr/>
            <p:nvPr/>
          </p:nvSpPr>
          <p:spPr>
            <a:xfrm>
              <a:off x="1415038" y="5364360"/>
              <a:ext cx="956885" cy="956885"/>
            </a:xfrm>
            <a:prstGeom prst="ellipse">
              <a:avLst/>
            </a:prstGeom>
            <a:solidFill>
              <a:schemeClr val="bg1"/>
            </a:solidFill>
            <a:ln w="57150">
              <a:solidFill>
                <a:srgbClr val="0457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latin typeface="Tw Cen MT" panose="020B0602020104020603" pitchFamily="34" charset="0"/>
              </a:endParaRPr>
            </a:p>
          </p:txBody>
        </p:sp>
        <p:pic>
          <p:nvPicPr>
            <p:cNvPr id="30" name="Picture 29">
              <a:extLst>
                <a:ext uri="{FF2B5EF4-FFF2-40B4-BE49-F238E27FC236}">
                  <a16:creationId xmlns:a16="http://schemas.microsoft.com/office/drawing/2014/main" id="{60D2C5A1-B9A4-4B73-9321-1AD638B20A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95981" y="5482400"/>
              <a:ext cx="794997" cy="794580"/>
            </a:xfrm>
            <a:prstGeom prst="ellipse">
              <a:avLst/>
            </a:prstGeom>
            <a:ln w="38100" cap="rnd">
              <a:solidFill>
                <a:schemeClr val="bg1"/>
              </a:solidFill>
              <a:prstDash val="solid"/>
            </a:ln>
            <a:effectLst>
              <a:outerShdw sx="1000" sy="1000" algn="bl" rotWithShape="0">
                <a:srgbClr val="000000"/>
              </a:outerShdw>
            </a:effectLst>
            <a:scene3d>
              <a:camera prst="perspectiveFront" fov="5400000"/>
              <a:lightRig rig="threePt" dir="t">
                <a:rot lat="0" lon="0" rev="19200000"/>
              </a:lightRig>
            </a:scene3d>
            <a:sp3d extrusionH="25400">
              <a:bevelT w="0" h="0" prst="hardEdge"/>
              <a:extrusionClr>
                <a:srgbClr val="000000"/>
              </a:extrusionClr>
            </a:sp3d>
          </p:spPr>
        </p:pic>
      </p:grpSp>
    </p:spTree>
    <p:extLst>
      <p:ext uri="{BB962C8B-B14F-4D97-AF65-F5344CB8AC3E}">
        <p14:creationId xmlns:p14="http://schemas.microsoft.com/office/powerpoint/2010/main" val="1091325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a:t>Alur Data Project CA </a:t>
            </a:r>
            <a:r>
              <a:rPr lang="en-US" dirty="0" err="1"/>
              <a:t>Itjen</a:t>
            </a:r>
            <a:endParaRPr lang="en-US" dirty="0"/>
          </a:p>
        </p:txBody>
      </p:sp>
      <p:pic>
        <p:nvPicPr>
          <p:cNvPr id="3" name="Picture 2">
            <a:extLst>
              <a:ext uri="{FF2B5EF4-FFF2-40B4-BE49-F238E27FC236}">
                <a16:creationId xmlns:a16="http://schemas.microsoft.com/office/drawing/2014/main" id="{8633AB1D-714B-4DBA-8365-DCB15E8D1A11}"/>
              </a:ext>
            </a:extLst>
          </p:cNvPr>
          <p:cNvPicPr>
            <a:picLocks noChangeAspect="1"/>
          </p:cNvPicPr>
          <p:nvPr/>
        </p:nvPicPr>
        <p:blipFill>
          <a:blip r:embed="rId2"/>
          <a:stretch>
            <a:fillRect/>
          </a:stretch>
        </p:blipFill>
        <p:spPr>
          <a:xfrm>
            <a:off x="379650" y="1631690"/>
            <a:ext cx="949876" cy="934304"/>
          </a:xfrm>
          <a:prstGeom prst="rect">
            <a:avLst/>
          </a:prstGeom>
        </p:spPr>
      </p:pic>
      <p:sp>
        <p:nvSpPr>
          <p:cNvPr id="4" name="Rectangle 3">
            <a:extLst>
              <a:ext uri="{FF2B5EF4-FFF2-40B4-BE49-F238E27FC236}">
                <a16:creationId xmlns:a16="http://schemas.microsoft.com/office/drawing/2014/main" id="{C1F71909-D45E-4229-AD32-2C3D812655A4}"/>
              </a:ext>
            </a:extLst>
          </p:cNvPr>
          <p:cNvSpPr/>
          <p:nvPr/>
        </p:nvSpPr>
        <p:spPr>
          <a:xfrm>
            <a:off x="204300" y="2477812"/>
            <a:ext cx="1300575"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a:latin typeface="Tw Cen MT" panose="020B0602020104020603" pitchFamily="34" charset="0"/>
              </a:rPr>
              <a:t>Database SPAN</a:t>
            </a:r>
            <a:endParaRPr lang="en-US" sz="1200" kern="1200" dirty="0">
              <a:latin typeface="Tw Cen MT" panose="020B0602020104020603" pitchFamily="34" charset="0"/>
            </a:endParaRPr>
          </a:p>
        </p:txBody>
      </p:sp>
      <p:pic>
        <p:nvPicPr>
          <p:cNvPr id="5" name="Picture 4">
            <a:extLst>
              <a:ext uri="{FF2B5EF4-FFF2-40B4-BE49-F238E27FC236}">
                <a16:creationId xmlns:a16="http://schemas.microsoft.com/office/drawing/2014/main" id="{0D8FEF14-0E30-4143-98E9-37FCB58FAC66}"/>
              </a:ext>
            </a:extLst>
          </p:cNvPr>
          <p:cNvPicPr>
            <a:picLocks noChangeAspect="1"/>
          </p:cNvPicPr>
          <p:nvPr/>
        </p:nvPicPr>
        <p:blipFill>
          <a:blip r:embed="rId2"/>
          <a:stretch>
            <a:fillRect/>
          </a:stretch>
        </p:blipFill>
        <p:spPr>
          <a:xfrm>
            <a:off x="379650" y="2821880"/>
            <a:ext cx="949876" cy="934304"/>
          </a:xfrm>
          <a:prstGeom prst="rect">
            <a:avLst/>
          </a:prstGeom>
        </p:spPr>
      </p:pic>
      <p:sp>
        <p:nvSpPr>
          <p:cNvPr id="7" name="Rectangle 6">
            <a:extLst>
              <a:ext uri="{FF2B5EF4-FFF2-40B4-BE49-F238E27FC236}">
                <a16:creationId xmlns:a16="http://schemas.microsoft.com/office/drawing/2014/main" id="{F8E9C93A-C6B5-4D38-BAF1-5CAB40FD5A6D}"/>
              </a:ext>
            </a:extLst>
          </p:cNvPr>
          <p:cNvSpPr/>
          <p:nvPr/>
        </p:nvSpPr>
        <p:spPr>
          <a:xfrm>
            <a:off x="204300" y="3668002"/>
            <a:ext cx="1300575"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a:latin typeface="Tw Cen MT" panose="020B0602020104020603" pitchFamily="34" charset="0"/>
              </a:rPr>
              <a:t>Database CEISA</a:t>
            </a:r>
            <a:endParaRPr lang="en-US" sz="1200" kern="1200" dirty="0">
              <a:latin typeface="Tw Cen MT" panose="020B0602020104020603" pitchFamily="34" charset="0"/>
            </a:endParaRPr>
          </a:p>
        </p:txBody>
      </p:sp>
      <p:pic>
        <p:nvPicPr>
          <p:cNvPr id="8" name="Picture 7">
            <a:extLst>
              <a:ext uri="{FF2B5EF4-FFF2-40B4-BE49-F238E27FC236}">
                <a16:creationId xmlns:a16="http://schemas.microsoft.com/office/drawing/2014/main" id="{1D5F1617-62E8-4F4B-BB5C-2EDF78625FCB}"/>
              </a:ext>
            </a:extLst>
          </p:cNvPr>
          <p:cNvPicPr>
            <a:picLocks noChangeAspect="1"/>
          </p:cNvPicPr>
          <p:nvPr/>
        </p:nvPicPr>
        <p:blipFill>
          <a:blip r:embed="rId2"/>
          <a:stretch>
            <a:fillRect/>
          </a:stretch>
        </p:blipFill>
        <p:spPr>
          <a:xfrm>
            <a:off x="379650" y="4017251"/>
            <a:ext cx="949876" cy="934304"/>
          </a:xfrm>
          <a:prstGeom prst="rect">
            <a:avLst/>
          </a:prstGeom>
        </p:spPr>
      </p:pic>
      <p:sp>
        <p:nvSpPr>
          <p:cNvPr id="9" name="Rectangle 8">
            <a:extLst>
              <a:ext uri="{FF2B5EF4-FFF2-40B4-BE49-F238E27FC236}">
                <a16:creationId xmlns:a16="http://schemas.microsoft.com/office/drawing/2014/main" id="{000298AA-635D-48C0-B0A1-A4423BF07FFD}"/>
              </a:ext>
            </a:extLst>
          </p:cNvPr>
          <p:cNvSpPr/>
          <p:nvPr/>
        </p:nvSpPr>
        <p:spPr>
          <a:xfrm>
            <a:off x="204300" y="4863373"/>
            <a:ext cx="1300575"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a:latin typeface="Tw Cen MT" panose="020B0602020104020603" pitchFamily="34" charset="0"/>
              </a:rPr>
              <a:t>Database </a:t>
            </a:r>
            <a:r>
              <a:rPr lang="en-US" sz="1200" dirty="0" err="1">
                <a:latin typeface="Tw Cen MT" panose="020B0602020104020603" pitchFamily="34" charset="0"/>
              </a:rPr>
              <a:t>eAuction</a:t>
            </a:r>
            <a:endParaRPr lang="en-US" sz="1200" kern="1200" dirty="0">
              <a:latin typeface="Tw Cen MT" panose="020B0602020104020603" pitchFamily="34" charset="0"/>
            </a:endParaRPr>
          </a:p>
        </p:txBody>
      </p:sp>
      <p:pic>
        <p:nvPicPr>
          <p:cNvPr id="10" name="Picture 9">
            <a:extLst>
              <a:ext uri="{FF2B5EF4-FFF2-40B4-BE49-F238E27FC236}">
                <a16:creationId xmlns:a16="http://schemas.microsoft.com/office/drawing/2014/main" id="{69B6948A-0D16-41B3-8766-84D24295D0B4}"/>
              </a:ext>
            </a:extLst>
          </p:cNvPr>
          <p:cNvPicPr>
            <a:picLocks noChangeAspect="1"/>
          </p:cNvPicPr>
          <p:nvPr/>
        </p:nvPicPr>
        <p:blipFill>
          <a:blip r:embed="rId2"/>
          <a:stretch>
            <a:fillRect/>
          </a:stretch>
        </p:blipFill>
        <p:spPr>
          <a:xfrm>
            <a:off x="379650" y="5255078"/>
            <a:ext cx="949876" cy="934304"/>
          </a:xfrm>
          <a:prstGeom prst="rect">
            <a:avLst/>
          </a:prstGeom>
        </p:spPr>
      </p:pic>
      <p:sp>
        <p:nvSpPr>
          <p:cNvPr id="11" name="Rectangle 10">
            <a:extLst>
              <a:ext uri="{FF2B5EF4-FFF2-40B4-BE49-F238E27FC236}">
                <a16:creationId xmlns:a16="http://schemas.microsoft.com/office/drawing/2014/main" id="{E3459496-80B4-40AC-9EDD-5DEA6C10D50B}"/>
              </a:ext>
            </a:extLst>
          </p:cNvPr>
          <p:cNvSpPr/>
          <p:nvPr/>
        </p:nvSpPr>
        <p:spPr>
          <a:xfrm>
            <a:off x="204300" y="6101200"/>
            <a:ext cx="1300575"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a:latin typeface="Tw Cen MT" panose="020B0602020104020603" pitchFamily="34" charset="0"/>
              </a:rPr>
              <a:t>Database </a:t>
            </a:r>
            <a:r>
              <a:rPr lang="en-US" sz="1200" dirty="0" err="1">
                <a:latin typeface="Tw Cen MT" panose="020B0602020104020603" pitchFamily="34" charset="0"/>
              </a:rPr>
              <a:t>Lainnya</a:t>
            </a:r>
            <a:endParaRPr lang="en-US" sz="1200" kern="1200" dirty="0">
              <a:latin typeface="Tw Cen MT" panose="020B0602020104020603" pitchFamily="34" charset="0"/>
            </a:endParaRPr>
          </a:p>
        </p:txBody>
      </p:sp>
      <p:grpSp>
        <p:nvGrpSpPr>
          <p:cNvPr id="78" name="Group 77">
            <a:extLst>
              <a:ext uri="{FF2B5EF4-FFF2-40B4-BE49-F238E27FC236}">
                <a16:creationId xmlns:a16="http://schemas.microsoft.com/office/drawing/2014/main" id="{AB736EB9-9666-4C5F-B7D9-28E3DFD613F2}"/>
              </a:ext>
            </a:extLst>
          </p:cNvPr>
          <p:cNvGrpSpPr/>
          <p:nvPr/>
        </p:nvGrpSpPr>
        <p:grpSpPr>
          <a:xfrm>
            <a:off x="1897770" y="2988465"/>
            <a:ext cx="1674374" cy="1742917"/>
            <a:chOff x="2360665" y="2988465"/>
            <a:chExt cx="1674374" cy="1742917"/>
          </a:xfrm>
        </p:grpSpPr>
        <p:pic>
          <p:nvPicPr>
            <p:cNvPr id="12" name="Picture 11">
              <a:extLst>
                <a:ext uri="{FF2B5EF4-FFF2-40B4-BE49-F238E27FC236}">
                  <a16:creationId xmlns:a16="http://schemas.microsoft.com/office/drawing/2014/main" id="{C31EA04F-7FB9-49D5-AA50-A6CB9B1D4617}"/>
                </a:ext>
              </a:extLst>
            </p:cNvPr>
            <p:cNvPicPr>
              <a:picLocks noChangeAspect="1"/>
            </p:cNvPicPr>
            <p:nvPr/>
          </p:nvPicPr>
          <p:blipFill>
            <a:blip r:embed="rId3"/>
            <a:stretch>
              <a:fillRect/>
            </a:stretch>
          </p:blipFill>
          <p:spPr>
            <a:xfrm>
              <a:off x="2360665" y="2988465"/>
              <a:ext cx="1674374" cy="1544325"/>
            </a:xfrm>
            <a:prstGeom prst="rect">
              <a:avLst/>
            </a:prstGeom>
          </p:spPr>
        </p:pic>
        <p:sp>
          <p:nvSpPr>
            <p:cNvPr id="13" name="Rectangle 12">
              <a:extLst>
                <a:ext uri="{FF2B5EF4-FFF2-40B4-BE49-F238E27FC236}">
                  <a16:creationId xmlns:a16="http://schemas.microsoft.com/office/drawing/2014/main" id="{2D705345-78AF-4BEC-8861-73E3755AC095}"/>
                </a:ext>
              </a:extLst>
            </p:cNvPr>
            <p:cNvSpPr/>
            <p:nvPr/>
          </p:nvSpPr>
          <p:spPr>
            <a:xfrm>
              <a:off x="2590989" y="4458729"/>
              <a:ext cx="1300575"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a:latin typeface="Tw Cen MT" panose="020B0602020104020603" pitchFamily="34" charset="0"/>
                </a:rPr>
                <a:t>SLDK </a:t>
              </a:r>
              <a:r>
                <a:rPr lang="en-US" sz="1200" dirty="0" err="1">
                  <a:latin typeface="Tw Cen MT" panose="020B0602020104020603" pitchFamily="34" charset="0"/>
                </a:rPr>
                <a:t>Kemenkeu</a:t>
              </a:r>
              <a:endParaRPr lang="en-US" sz="1200" kern="1200" dirty="0">
                <a:latin typeface="Tw Cen MT" panose="020B0602020104020603" pitchFamily="34" charset="0"/>
              </a:endParaRPr>
            </a:p>
          </p:txBody>
        </p:sp>
      </p:grpSp>
      <p:cxnSp>
        <p:nvCxnSpPr>
          <p:cNvPr id="14" name="Straight Connector 13">
            <a:extLst>
              <a:ext uri="{FF2B5EF4-FFF2-40B4-BE49-F238E27FC236}">
                <a16:creationId xmlns:a16="http://schemas.microsoft.com/office/drawing/2014/main" id="{DE9E4FDC-9614-40EE-89CA-AED75A7BBD9C}"/>
              </a:ext>
            </a:extLst>
          </p:cNvPr>
          <p:cNvCxnSpPr>
            <a:stCxn id="3" idx="3"/>
            <a:endCxn id="3" idx="3"/>
          </p:cNvCxnSpPr>
          <p:nvPr/>
        </p:nvCxnSpPr>
        <p:spPr>
          <a:xfrm>
            <a:off x="1329526" y="209884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1FAF35C-2872-44AF-A458-725259547BE0}"/>
              </a:ext>
            </a:extLst>
          </p:cNvPr>
          <p:cNvCxnSpPr>
            <a:cxnSpLocks/>
            <a:stCxn id="3" idx="3"/>
            <a:endCxn id="12" idx="1"/>
          </p:cNvCxnSpPr>
          <p:nvPr/>
        </p:nvCxnSpPr>
        <p:spPr>
          <a:xfrm>
            <a:off x="1329526" y="2098842"/>
            <a:ext cx="568244" cy="166178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0">
            <a:extLst>
              <a:ext uri="{FF2B5EF4-FFF2-40B4-BE49-F238E27FC236}">
                <a16:creationId xmlns:a16="http://schemas.microsoft.com/office/drawing/2014/main" id="{9C27E171-48DE-4AC3-88B7-677A8B678E5A}"/>
              </a:ext>
            </a:extLst>
          </p:cNvPr>
          <p:cNvCxnSpPr>
            <a:cxnSpLocks/>
            <a:stCxn id="12" idx="0"/>
            <a:endCxn id="21" idx="1"/>
          </p:cNvCxnSpPr>
          <p:nvPr/>
        </p:nvCxnSpPr>
        <p:spPr>
          <a:xfrm rot="5400000" flipH="1" flipV="1">
            <a:off x="3061803" y="2326331"/>
            <a:ext cx="335289" cy="988980"/>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352A749C-1A19-4E6F-95F1-475A78A4308F}"/>
              </a:ext>
            </a:extLst>
          </p:cNvPr>
          <p:cNvGrpSpPr/>
          <p:nvPr/>
        </p:nvGrpSpPr>
        <p:grpSpPr>
          <a:xfrm>
            <a:off x="3658993" y="1962553"/>
            <a:ext cx="907095" cy="1076385"/>
            <a:chOff x="4521406" y="1962553"/>
            <a:chExt cx="907095" cy="1076385"/>
          </a:xfrm>
        </p:grpSpPr>
        <p:pic>
          <p:nvPicPr>
            <p:cNvPr id="21" name="Picture 20">
              <a:extLst>
                <a:ext uri="{FF2B5EF4-FFF2-40B4-BE49-F238E27FC236}">
                  <a16:creationId xmlns:a16="http://schemas.microsoft.com/office/drawing/2014/main" id="{E9C0389D-BFB3-4B57-A33D-CD69EEF011D6}"/>
                </a:ext>
              </a:extLst>
            </p:cNvPr>
            <p:cNvPicPr>
              <a:picLocks noChangeAspect="1"/>
            </p:cNvPicPr>
            <p:nvPr/>
          </p:nvPicPr>
          <p:blipFill>
            <a:blip r:embed="rId4"/>
            <a:stretch>
              <a:fillRect/>
            </a:stretch>
          </p:blipFill>
          <p:spPr>
            <a:xfrm>
              <a:off x="4586350" y="2267413"/>
              <a:ext cx="781050" cy="771525"/>
            </a:xfrm>
            <a:prstGeom prst="rect">
              <a:avLst/>
            </a:prstGeom>
          </p:spPr>
        </p:pic>
        <p:sp>
          <p:nvSpPr>
            <p:cNvPr id="23" name="Rectangle 22">
              <a:extLst>
                <a:ext uri="{FF2B5EF4-FFF2-40B4-BE49-F238E27FC236}">
                  <a16:creationId xmlns:a16="http://schemas.microsoft.com/office/drawing/2014/main" id="{8137A987-65E8-4753-893F-A21FB006C8A9}"/>
                </a:ext>
              </a:extLst>
            </p:cNvPr>
            <p:cNvSpPr/>
            <p:nvPr/>
          </p:nvSpPr>
          <p:spPr>
            <a:xfrm>
              <a:off x="4521406" y="1962553"/>
              <a:ext cx="907095" cy="25823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spcBef>
                  <a:spcPct val="0"/>
                </a:spcBef>
              </a:pPr>
              <a:r>
                <a:rPr lang="en-US" sz="1200" dirty="0">
                  <a:latin typeface="Tw Cen MT" panose="020B0602020104020603" pitchFamily="34" charset="0"/>
                </a:rPr>
                <a:t>ACL</a:t>
              </a:r>
            </a:p>
            <a:p>
              <a:pPr lvl="0" algn="ctr" defTabSz="1155700">
                <a:spcBef>
                  <a:spcPct val="0"/>
                </a:spcBef>
              </a:pPr>
              <a:r>
                <a:rPr lang="en-US" sz="1200" dirty="0">
                  <a:latin typeface="Tw Cen MT" panose="020B0602020104020603" pitchFamily="34" charset="0"/>
                </a:rPr>
                <a:t>AX Core</a:t>
              </a:r>
              <a:endParaRPr lang="en-US" sz="1200" kern="1200" dirty="0">
                <a:latin typeface="Tw Cen MT" panose="020B0602020104020603" pitchFamily="34" charset="0"/>
              </a:endParaRPr>
            </a:p>
          </p:txBody>
        </p:sp>
      </p:grpSp>
      <p:cxnSp>
        <p:nvCxnSpPr>
          <p:cNvPr id="24" name="Straight Arrow Connector 23">
            <a:extLst>
              <a:ext uri="{FF2B5EF4-FFF2-40B4-BE49-F238E27FC236}">
                <a16:creationId xmlns:a16="http://schemas.microsoft.com/office/drawing/2014/main" id="{E1026B02-D896-4D53-AE5F-BBFDCD7FBB9E}"/>
              </a:ext>
            </a:extLst>
          </p:cNvPr>
          <p:cNvCxnSpPr>
            <a:cxnSpLocks/>
            <a:stCxn id="21" idx="3"/>
            <a:endCxn id="50" idx="1"/>
          </p:cNvCxnSpPr>
          <p:nvPr/>
        </p:nvCxnSpPr>
        <p:spPr>
          <a:xfrm flipV="1">
            <a:off x="4504987" y="2653175"/>
            <a:ext cx="921995" cy="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0">
            <a:extLst>
              <a:ext uri="{FF2B5EF4-FFF2-40B4-BE49-F238E27FC236}">
                <a16:creationId xmlns:a16="http://schemas.microsoft.com/office/drawing/2014/main" id="{9507D2EA-7EC3-4722-9320-EB8A89315CC7}"/>
              </a:ext>
            </a:extLst>
          </p:cNvPr>
          <p:cNvCxnSpPr>
            <a:cxnSpLocks/>
            <a:stCxn id="13" idx="2"/>
            <a:endCxn id="26" idx="1"/>
          </p:cNvCxnSpPr>
          <p:nvPr/>
        </p:nvCxnSpPr>
        <p:spPr>
          <a:xfrm rot="16200000" flipH="1">
            <a:off x="3167452" y="4342311"/>
            <a:ext cx="222479" cy="1000619"/>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3">
            <a:extLst>
              <a:ext uri="{FF2B5EF4-FFF2-40B4-BE49-F238E27FC236}">
                <a16:creationId xmlns:a16="http://schemas.microsoft.com/office/drawing/2014/main" id="{46035BE9-9AF3-4949-AA2E-0ECC3D7A999E}"/>
              </a:ext>
            </a:extLst>
          </p:cNvPr>
          <p:cNvCxnSpPr>
            <a:cxnSpLocks/>
            <a:stCxn id="26" idx="3"/>
            <a:endCxn id="1026" idx="1"/>
          </p:cNvCxnSpPr>
          <p:nvPr/>
        </p:nvCxnSpPr>
        <p:spPr>
          <a:xfrm>
            <a:off x="4560051" y="4953861"/>
            <a:ext cx="907243" cy="73"/>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5087FFD1-2DB1-49AC-BAD2-B021A9A1E6D5}"/>
              </a:ext>
            </a:extLst>
          </p:cNvPr>
          <p:cNvGrpSpPr/>
          <p:nvPr/>
        </p:nvGrpSpPr>
        <p:grpSpPr>
          <a:xfrm>
            <a:off x="3728843" y="4563336"/>
            <a:ext cx="907095" cy="991658"/>
            <a:chOff x="4591256" y="4563336"/>
            <a:chExt cx="907095" cy="991658"/>
          </a:xfrm>
        </p:grpSpPr>
        <p:pic>
          <p:nvPicPr>
            <p:cNvPr id="26" name="Graphic 25" descr="Store">
              <a:extLst>
                <a:ext uri="{FF2B5EF4-FFF2-40B4-BE49-F238E27FC236}">
                  <a16:creationId xmlns:a16="http://schemas.microsoft.com/office/drawing/2014/main" id="{071334F4-482B-47A9-823B-42BDCE35002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41414" y="4563336"/>
              <a:ext cx="781050" cy="781050"/>
            </a:xfrm>
            <a:prstGeom prst="rect">
              <a:avLst/>
            </a:prstGeom>
          </p:spPr>
        </p:pic>
        <p:sp>
          <p:nvSpPr>
            <p:cNvPr id="29" name="Rectangle 28">
              <a:extLst>
                <a:ext uri="{FF2B5EF4-FFF2-40B4-BE49-F238E27FC236}">
                  <a16:creationId xmlns:a16="http://schemas.microsoft.com/office/drawing/2014/main" id="{48B239C5-F6DE-434C-A910-5DE6F543C1DB}"/>
                </a:ext>
              </a:extLst>
            </p:cNvPr>
            <p:cNvSpPr/>
            <p:nvPr/>
          </p:nvSpPr>
          <p:spPr>
            <a:xfrm>
              <a:off x="4591256" y="5296761"/>
              <a:ext cx="907095" cy="25823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a:latin typeface="Tw Cen MT" panose="020B0602020104020603" pitchFamily="34" charset="0"/>
                </a:rPr>
                <a:t>SQL DataMart</a:t>
              </a:r>
              <a:endParaRPr lang="en-US" sz="1200" kern="1200" dirty="0">
                <a:latin typeface="Tw Cen MT" panose="020B0602020104020603" pitchFamily="34" charset="0"/>
              </a:endParaRPr>
            </a:p>
          </p:txBody>
        </p:sp>
      </p:grpSp>
      <p:cxnSp>
        <p:nvCxnSpPr>
          <p:cNvPr id="32" name="Straight Arrow Connector 19">
            <a:extLst>
              <a:ext uri="{FF2B5EF4-FFF2-40B4-BE49-F238E27FC236}">
                <a16:creationId xmlns:a16="http://schemas.microsoft.com/office/drawing/2014/main" id="{6F363CE0-1111-42EF-8B6A-C8D9A05E75B0}"/>
              </a:ext>
            </a:extLst>
          </p:cNvPr>
          <p:cNvCxnSpPr>
            <a:cxnSpLocks/>
            <a:stCxn id="5" idx="3"/>
            <a:endCxn id="12" idx="1"/>
          </p:cNvCxnSpPr>
          <p:nvPr/>
        </p:nvCxnSpPr>
        <p:spPr>
          <a:xfrm>
            <a:off x="1329526" y="3289032"/>
            <a:ext cx="568244" cy="47159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19">
            <a:extLst>
              <a:ext uri="{FF2B5EF4-FFF2-40B4-BE49-F238E27FC236}">
                <a16:creationId xmlns:a16="http://schemas.microsoft.com/office/drawing/2014/main" id="{EC219CEF-637E-482E-B15D-ED4937231AD0}"/>
              </a:ext>
            </a:extLst>
          </p:cNvPr>
          <p:cNvCxnSpPr>
            <a:cxnSpLocks/>
            <a:stCxn id="8" idx="3"/>
            <a:endCxn id="12" idx="1"/>
          </p:cNvCxnSpPr>
          <p:nvPr/>
        </p:nvCxnSpPr>
        <p:spPr>
          <a:xfrm flipV="1">
            <a:off x="1329526" y="3760628"/>
            <a:ext cx="568244" cy="72377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19">
            <a:extLst>
              <a:ext uri="{FF2B5EF4-FFF2-40B4-BE49-F238E27FC236}">
                <a16:creationId xmlns:a16="http://schemas.microsoft.com/office/drawing/2014/main" id="{034BE030-ED44-4EE3-8DF3-A0F3D94EDB57}"/>
              </a:ext>
            </a:extLst>
          </p:cNvPr>
          <p:cNvCxnSpPr>
            <a:cxnSpLocks/>
            <a:stCxn id="10" idx="3"/>
            <a:endCxn id="12" idx="1"/>
          </p:cNvCxnSpPr>
          <p:nvPr/>
        </p:nvCxnSpPr>
        <p:spPr>
          <a:xfrm flipV="1">
            <a:off x="1329526" y="3760628"/>
            <a:ext cx="568244" cy="196160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F952A9DD-44D1-4B59-A796-E5A906FCCF46}"/>
              </a:ext>
            </a:extLst>
          </p:cNvPr>
          <p:cNvGrpSpPr/>
          <p:nvPr/>
        </p:nvGrpSpPr>
        <p:grpSpPr>
          <a:xfrm>
            <a:off x="5308015" y="4637550"/>
            <a:ext cx="1031262" cy="910095"/>
            <a:chOff x="6170428" y="4637550"/>
            <a:chExt cx="1031262" cy="910095"/>
          </a:xfrm>
        </p:grpSpPr>
        <p:sp>
          <p:nvSpPr>
            <p:cNvPr id="25" name="Rectangle 24">
              <a:extLst>
                <a:ext uri="{FF2B5EF4-FFF2-40B4-BE49-F238E27FC236}">
                  <a16:creationId xmlns:a16="http://schemas.microsoft.com/office/drawing/2014/main" id="{1C8A473C-9270-4A15-B4F9-471DA33D100B}"/>
                </a:ext>
              </a:extLst>
            </p:cNvPr>
            <p:cNvSpPr/>
            <p:nvPr/>
          </p:nvSpPr>
          <p:spPr>
            <a:xfrm>
              <a:off x="6170428" y="5270245"/>
              <a:ext cx="1031262" cy="277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algn="ctr" defTabSz="1155700">
                <a:spcBef>
                  <a:spcPct val="0"/>
                </a:spcBef>
              </a:pPr>
              <a:r>
                <a:rPr lang="en-US" sz="1200" dirty="0">
                  <a:latin typeface="Tw Cen MT" panose="020B0602020104020603" pitchFamily="34" charset="0"/>
                </a:rPr>
                <a:t>Data</a:t>
              </a:r>
            </a:p>
            <a:p>
              <a:pPr algn="ctr" defTabSz="1155700">
                <a:spcBef>
                  <a:spcPct val="0"/>
                </a:spcBef>
              </a:pPr>
              <a:r>
                <a:rPr lang="en-US" sz="1200" dirty="0" err="1">
                  <a:latin typeface="Tw Cen MT" panose="020B0602020104020603" pitchFamily="34" charset="0"/>
                </a:rPr>
                <a:t>Anomali</a:t>
              </a:r>
              <a:endParaRPr lang="en-US" sz="1200" dirty="0">
                <a:latin typeface="Tw Cen MT" panose="020B0602020104020603" pitchFamily="34" charset="0"/>
              </a:endParaRPr>
            </a:p>
          </p:txBody>
        </p:sp>
        <p:pic>
          <p:nvPicPr>
            <p:cNvPr id="1026" name="Picture 2" descr="https://icons.iconarchive.com/icons/paomedia/small-n-flat/1024/database-icon.png">
              <a:extLst>
                <a:ext uri="{FF2B5EF4-FFF2-40B4-BE49-F238E27FC236}">
                  <a16:creationId xmlns:a16="http://schemas.microsoft.com/office/drawing/2014/main" id="{91424BC7-EE3A-41D1-9A3D-C82A69785AB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9707" y="4637550"/>
              <a:ext cx="632768" cy="6327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1" name="Group 80">
            <a:extLst>
              <a:ext uri="{FF2B5EF4-FFF2-40B4-BE49-F238E27FC236}">
                <a16:creationId xmlns:a16="http://schemas.microsoft.com/office/drawing/2014/main" id="{685A4A36-7532-42D5-9517-495E998C985D}"/>
              </a:ext>
            </a:extLst>
          </p:cNvPr>
          <p:cNvGrpSpPr/>
          <p:nvPr/>
        </p:nvGrpSpPr>
        <p:grpSpPr>
          <a:xfrm>
            <a:off x="5227735" y="1977920"/>
            <a:ext cx="1031262" cy="1031951"/>
            <a:chOff x="6090148" y="1977920"/>
            <a:chExt cx="1031262" cy="1031951"/>
          </a:xfrm>
        </p:grpSpPr>
        <p:pic>
          <p:nvPicPr>
            <p:cNvPr id="50" name="Picture 49">
              <a:extLst>
                <a:ext uri="{FF2B5EF4-FFF2-40B4-BE49-F238E27FC236}">
                  <a16:creationId xmlns:a16="http://schemas.microsoft.com/office/drawing/2014/main" id="{9F4EF054-3CD3-4889-8A3E-CA82EABA19EF}"/>
                </a:ext>
              </a:extLst>
            </p:cNvPr>
            <p:cNvPicPr>
              <a:picLocks noChangeAspect="1"/>
            </p:cNvPicPr>
            <p:nvPr/>
          </p:nvPicPr>
          <p:blipFill>
            <a:blip r:embed="rId8"/>
            <a:stretch>
              <a:fillRect/>
            </a:stretch>
          </p:blipFill>
          <p:spPr>
            <a:xfrm>
              <a:off x="6289395" y="2296478"/>
              <a:ext cx="713393" cy="713393"/>
            </a:xfrm>
            <a:prstGeom prst="rect">
              <a:avLst/>
            </a:prstGeom>
          </p:spPr>
        </p:pic>
        <p:sp>
          <p:nvSpPr>
            <p:cNvPr id="61" name="Rectangle 60">
              <a:extLst>
                <a:ext uri="{FF2B5EF4-FFF2-40B4-BE49-F238E27FC236}">
                  <a16:creationId xmlns:a16="http://schemas.microsoft.com/office/drawing/2014/main" id="{61AB44C9-82D6-4C8D-A0EC-CF8152192716}"/>
                </a:ext>
              </a:extLst>
            </p:cNvPr>
            <p:cNvSpPr/>
            <p:nvPr/>
          </p:nvSpPr>
          <p:spPr>
            <a:xfrm>
              <a:off x="6090148" y="1977920"/>
              <a:ext cx="1031262" cy="277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algn="ctr" defTabSz="1155700">
                <a:spcBef>
                  <a:spcPct val="0"/>
                </a:spcBef>
              </a:pPr>
              <a:r>
                <a:rPr lang="en-US" sz="1200" dirty="0">
                  <a:latin typeface="Tw Cen MT" panose="020B0602020104020603" pitchFamily="34" charset="0"/>
                </a:rPr>
                <a:t>File</a:t>
              </a:r>
            </a:p>
            <a:p>
              <a:pPr algn="ctr" defTabSz="1155700">
                <a:spcBef>
                  <a:spcPct val="0"/>
                </a:spcBef>
              </a:pPr>
              <a:r>
                <a:rPr lang="en-US" sz="1200" dirty="0" err="1">
                  <a:latin typeface="Tw Cen MT" panose="020B0602020104020603" pitchFamily="34" charset="0"/>
                </a:rPr>
                <a:t>Anomali</a:t>
              </a:r>
              <a:endParaRPr lang="en-US" sz="1200" dirty="0">
                <a:latin typeface="Tw Cen MT" panose="020B0602020104020603" pitchFamily="34" charset="0"/>
              </a:endParaRPr>
            </a:p>
          </p:txBody>
        </p:sp>
      </p:grpSp>
      <p:cxnSp>
        <p:nvCxnSpPr>
          <p:cNvPr id="66" name="Straight Arrow Connector 23">
            <a:extLst>
              <a:ext uri="{FF2B5EF4-FFF2-40B4-BE49-F238E27FC236}">
                <a16:creationId xmlns:a16="http://schemas.microsoft.com/office/drawing/2014/main" id="{76A1E475-8916-4B6E-A1DE-16FB22176141}"/>
              </a:ext>
            </a:extLst>
          </p:cNvPr>
          <p:cNvCxnSpPr>
            <a:cxnSpLocks/>
            <a:stCxn id="1026" idx="3"/>
            <a:endCxn id="77" idx="2"/>
          </p:cNvCxnSpPr>
          <p:nvPr/>
        </p:nvCxnSpPr>
        <p:spPr>
          <a:xfrm flipV="1">
            <a:off x="6100062" y="4458729"/>
            <a:ext cx="727829" cy="495205"/>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23">
            <a:extLst>
              <a:ext uri="{FF2B5EF4-FFF2-40B4-BE49-F238E27FC236}">
                <a16:creationId xmlns:a16="http://schemas.microsoft.com/office/drawing/2014/main" id="{00F950F1-3B40-4638-A408-C193B2773875}"/>
              </a:ext>
            </a:extLst>
          </p:cNvPr>
          <p:cNvCxnSpPr>
            <a:cxnSpLocks/>
            <a:stCxn id="50" idx="3"/>
            <a:endCxn id="65" idx="0"/>
          </p:cNvCxnSpPr>
          <p:nvPr/>
        </p:nvCxnSpPr>
        <p:spPr>
          <a:xfrm>
            <a:off x="6140375" y="2653175"/>
            <a:ext cx="726955" cy="445266"/>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B349CA9E-E0BF-43B4-9A64-79DDBA717B5F}"/>
              </a:ext>
            </a:extLst>
          </p:cNvPr>
          <p:cNvGrpSpPr/>
          <p:nvPr/>
        </p:nvGrpSpPr>
        <p:grpSpPr>
          <a:xfrm>
            <a:off x="6177603" y="3098441"/>
            <a:ext cx="1300575" cy="1360288"/>
            <a:chOff x="7224411" y="3214490"/>
            <a:chExt cx="1300575" cy="1360288"/>
          </a:xfrm>
        </p:grpSpPr>
        <p:sp>
          <p:nvSpPr>
            <p:cNvPr id="65" name="object 46">
              <a:extLst>
                <a:ext uri="{FF2B5EF4-FFF2-40B4-BE49-F238E27FC236}">
                  <a16:creationId xmlns:a16="http://schemas.microsoft.com/office/drawing/2014/main" id="{D7AB6A59-6004-4A90-8897-0FA9A0B137E1}"/>
                </a:ext>
              </a:extLst>
            </p:cNvPr>
            <p:cNvSpPr/>
            <p:nvPr/>
          </p:nvSpPr>
          <p:spPr>
            <a:xfrm>
              <a:off x="7303290" y="3214490"/>
              <a:ext cx="1221696" cy="1083387"/>
            </a:xfrm>
            <a:prstGeom prst="rect">
              <a:avLst/>
            </a:prstGeom>
            <a:blipFill>
              <a:blip r:embed="rId9" cstate="print">
                <a:extLst>
                  <a:ext uri="{BEBA8EAE-BF5A-486C-A8C5-ECC9F3942E4B}">
                    <a14:imgProps xmlns:a14="http://schemas.microsoft.com/office/drawing/2010/main">
                      <a14:imgLayer r:embed="rId10">
                        <a14:imgEffect>
                          <a14:backgroundRemoval t="1600" b="98000" l="5420" r="95122">
                            <a14:foregroundMark x1="46883" y1="10400" x2="56098" y2="9600"/>
                            <a14:foregroundMark x1="53388" y1="4000" x2="52575" y2="1600"/>
                            <a14:foregroundMark x1="79675" y1="8000" x2="95122" y2="16400"/>
                            <a14:foregroundMark x1="66396" y1="24000" x2="81843" y2="38000"/>
                            <a14:foregroundMark x1="73442" y1="30400" x2="34146" y2="48000"/>
                            <a14:foregroundMark x1="34146" y1="48000" x2="70461" y2="64000"/>
                            <a14:foregroundMark x1="70461" y1="64000" x2="28455" y2="68400"/>
                            <a14:foregroundMark x1="28455" y1="68400" x2="62873" y2="44000"/>
                            <a14:foregroundMark x1="62873" y1="44000" x2="62873" y2="43600"/>
                            <a14:foregroundMark x1="52304" y1="34800" x2="18970" y2="56800"/>
                            <a14:foregroundMark x1="15718" y1="33200" x2="15447" y2="53600"/>
                            <a14:foregroundMark x1="19512" y1="48400" x2="20867" y2="48800"/>
                            <a14:foregroundMark x1="64228" y1="71200" x2="72629" y2="71200"/>
                            <a14:foregroundMark x1="5962" y1="63600" x2="27371" y2="90400"/>
                            <a14:foregroundMark x1="14363" y1="89600" x2="14363" y2="89600"/>
                            <a14:foregroundMark x1="8130" y1="68400" x2="8401" y2="90000"/>
                            <a14:foregroundMark x1="5691" y1="67200" x2="28184" y2="72400"/>
                            <a14:foregroundMark x1="10569" y1="93600" x2="20867" y2="94000"/>
                            <a14:foregroundMark x1="9214" y1="98000" x2="23577" y2="97600"/>
                            <a14:foregroundMark x1="11111" y1="83600" x2="16531" y2="88400"/>
                            <a14:foregroundMark x1="20054" y1="73600" x2="22764" y2="81600"/>
                            <a14:foregroundMark x1="27371" y1="34800" x2="35230" y2="34800"/>
                            <a14:foregroundMark x1="22222" y1="40000" x2="33875" y2="39600"/>
                            <a14:foregroundMark x1="82656" y1="66400" x2="92954" y2="77600"/>
                            <a14:foregroundMark x1="68022" y1="23200" x2="72629" y2="20000"/>
                            <a14:foregroundMark x1="75610" y1="19200" x2="79675" y2="18800"/>
                            <a14:foregroundMark x1="82114" y1="23200" x2="84553" y2="26800"/>
                            <a14:foregroundMark x1="83469" y1="21600" x2="84824" y2="23600"/>
                            <a14:foregroundMark x1="71545" y1="19200" x2="75610" y2="18400"/>
                            <a14:foregroundMark x1="75068" y1="18000" x2="82114" y2="18800"/>
                            <a14:foregroundMark x1="83198" y1="21600" x2="85095" y2="22000"/>
                            <a14:foregroundMark x1="83198" y1="22000" x2="87263" y2="20400"/>
                          </a14:backgroundRemoval>
                        </a14:imgEffect>
                      </a14:imgLayer>
                    </a14:imgProps>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77" name="Rectangle 76">
              <a:extLst>
                <a:ext uri="{FF2B5EF4-FFF2-40B4-BE49-F238E27FC236}">
                  <a16:creationId xmlns:a16="http://schemas.microsoft.com/office/drawing/2014/main" id="{3B82618E-FAAF-4ADD-9E5F-D1608253E5E9}"/>
                </a:ext>
              </a:extLst>
            </p:cNvPr>
            <p:cNvSpPr/>
            <p:nvPr/>
          </p:nvSpPr>
          <p:spPr>
            <a:xfrm>
              <a:off x="7224411" y="4302125"/>
              <a:ext cx="1300575"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a:latin typeface="Tw Cen MT" panose="020B0602020104020603" pitchFamily="34" charset="0"/>
                </a:rPr>
                <a:t>Dashboard/App</a:t>
              </a:r>
              <a:endParaRPr lang="en-US" sz="1200" kern="1200" dirty="0">
                <a:latin typeface="Tw Cen MT" panose="020B0602020104020603" pitchFamily="34" charset="0"/>
              </a:endParaRPr>
            </a:p>
          </p:txBody>
        </p:sp>
      </p:grpSp>
      <p:cxnSp>
        <p:nvCxnSpPr>
          <p:cNvPr id="91" name="Straight Arrow Connector 23">
            <a:extLst>
              <a:ext uri="{FF2B5EF4-FFF2-40B4-BE49-F238E27FC236}">
                <a16:creationId xmlns:a16="http://schemas.microsoft.com/office/drawing/2014/main" id="{AFD0A9AA-0050-4ADD-B1D3-01C893D2320B}"/>
              </a:ext>
            </a:extLst>
          </p:cNvPr>
          <p:cNvCxnSpPr>
            <a:cxnSpLocks/>
            <a:endCxn id="1042" idx="1"/>
          </p:cNvCxnSpPr>
          <p:nvPr/>
        </p:nvCxnSpPr>
        <p:spPr>
          <a:xfrm>
            <a:off x="7478875" y="3706394"/>
            <a:ext cx="903595" cy="123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23">
            <a:extLst>
              <a:ext uri="{FF2B5EF4-FFF2-40B4-BE49-F238E27FC236}">
                <a16:creationId xmlns:a16="http://schemas.microsoft.com/office/drawing/2014/main" id="{FEA950D6-3200-4C31-9040-76376A4FB8C4}"/>
              </a:ext>
            </a:extLst>
          </p:cNvPr>
          <p:cNvCxnSpPr>
            <a:cxnSpLocks/>
            <a:stCxn id="1026" idx="3"/>
            <a:endCxn id="102" idx="2"/>
          </p:cNvCxnSpPr>
          <p:nvPr/>
        </p:nvCxnSpPr>
        <p:spPr>
          <a:xfrm flipV="1">
            <a:off x="6100062" y="4455753"/>
            <a:ext cx="3119595" cy="498181"/>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23">
            <a:extLst>
              <a:ext uri="{FF2B5EF4-FFF2-40B4-BE49-F238E27FC236}">
                <a16:creationId xmlns:a16="http://schemas.microsoft.com/office/drawing/2014/main" id="{0AECA763-9391-431A-B05D-3DC9FAB25A6A}"/>
              </a:ext>
            </a:extLst>
          </p:cNvPr>
          <p:cNvCxnSpPr>
            <a:cxnSpLocks/>
            <a:stCxn id="50" idx="3"/>
            <a:endCxn id="1042" idx="0"/>
          </p:cNvCxnSpPr>
          <p:nvPr/>
        </p:nvCxnSpPr>
        <p:spPr>
          <a:xfrm>
            <a:off x="6140375" y="2653175"/>
            <a:ext cx="3079282" cy="635857"/>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7EE77654-E717-4494-9DB6-E0B75506C8B0}"/>
              </a:ext>
            </a:extLst>
          </p:cNvPr>
          <p:cNvGrpSpPr/>
          <p:nvPr/>
        </p:nvGrpSpPr>
        <p:grpSpPr>
          <a:xfrm>
            <a:off x="8276798" y="3289032"/>
            <a:ext cx="1885718" cy="1166721"/>
            <a:chOff x="8302840" y="3332898"/>
            <a:chExt cx="1885718" cy="1166721"/>
          </a:xfrm>
        </p:grpSpPr>
        <p:pic>
          <p:nvPicPr>
            <p:cNvPr id="1042" name="Picture 18" descr="http://stemseurope.com/wp-content/uploads/2019/02/analiz1.jpg">
              <a:extLst>
                <a:ext uri="{FF2B5EF4-FFF2-40B4-BE49-F238E27FC236}">
                  <a16:creationId xmlns:a16="http://schemas.microsoft.com/office/drawing/2014/main" id="{93F5C7D9-953F-4025-A764-BC1FCFA586F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08512" y="3332898"/>
              <a:ext cx="1674374" cy="837187"/>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1B7098A8-6761-44A7-AF29-9932A69E9CEE}"/>
                </a:ext>
              </a:extLst>
            </p:cNvPr>
            <p:cNvSpPr/>
            <p:nvPr/>
          </p:nvSpPr>
          <p:spPr>
            <a:xfrm>
              <a:off x="8302840" y="4226966"/>
              <a:ext cx="1885718"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err="1">
                  <a:latin typeface="Tw Cen MT" panose="020B0602020104020603" pitchFamily="34" charset="0"/>
                </a:rPr>
                <a:t>Konfirmasi</a:t>
              </a:r>
              <a:r>
                <a:rPr lang="en-US" sz="1200" dirty="0">
                  <a:latin typeface="Tw Cen MT" panose="020B0602020104020603" pitchFamily="34" charset="0"/>
                </a:rPr>
                <a:t> / </a:t>
              </a:r>
              <a:r>
                <a:rPr lang="en-US" sz="1200" dirty="0" err="1">
                  <a:latin typeface="Tw Cen MT" panose="020B0602020104020603" pitchFamily="34" charset="0"/>
                </a:rPr>
                <a:t>Analisis</a:t>
              </a:r>
              <a:r>
                <a:rPr lang="en-US" sz="1200" dirty="0">
                  <a:latin typeface="Tw Cen MT" panose="020B0602020104020603" pitchFamily="34" charset="0"/>
                </a:rPr>
                <a:t> / </a:t>
              </a:r>
              <a:r>
                <a:rPr lang="en-US" sz="1200" dirty="0" err="1">
                  <a:latin typeface="Tw Cen MT" panose="020B0602020104020603" pitchFamily="34" charset="0"/>
                </a:rPr>
                <a:t>Pengawasan</a:t>
              </a:r>
              <a:r>
                <a:rPr lang="en-US" sz="1200" dirty="0">
                  <a:latin typeface="Tw Cen MT" panose="020B0602020104020603" pitchFamily="34" charset="0"/>
                </a:rPr>
                <a:t> </a:t>
              </a:r>
              <a:r>
                <a:rPr lang="en-US" sz="1200" dirty="0" err="1">
                  <a:latin typeface="Tw Cen MT" panose="020B0602020104020603" pitchFamily="34" charset="0"/>
                </a:rPr>
                <a:t>Lanjutan</a:t>
              </a:r>
              <a:endParaRPr lang="en-US" sz="1200" kern="1200" dirty="0">
                <a:latin typeface="Tw Cen MT" panose="020B0602020104020603" pitchFamily="34" charset="0"/>
              </a:endParaRPr>
            </a:p>
          </p:txBody>
        </p:sp>
      </p:grpSp>
      <p:grpSp>
        <p:nvGrpSpPr>
          <p:cNvPr id="104" name="Group 103">
            <a:extLst>
              <a:ext uri="{FF2B5EF4-FFF2-40B4-BE49-F238E27FC236}">
                <a16:creationId xmlns:a16="http://schemas.microsoft.com/office/drawing/2014/main" id="{CEDC203A-D582-4565-851B-E5F1B0525B33}"/>
              </a:ext>
            </a:extLst>
          </p:cNvPr>
          <p:cNvGrpSpPr/>
          <p:nvPr/>
        </p:nvGrpSpPr>
        <p:grpSpPr>
          <a:xfrm>
            <a:off x="10376132" y="3381941"/>
            <a:ext cx="1885718" cy="1072540"/>
            <a:chOff x="10376132" y="3381941"/>
            <a:chExt cx="1885718" cy="1072540"/>
          </a:xfrm>
        </p:grpSpPr>
        <p:sp>
          <p:nvSpPr>
            <p:cNvPr id="114" name="Rectangle 113">
              <a:extLst>
                <a:ext uri="{FF2B5EF4-FFF2-40B4-BE49-F238E27FC236}">
                  <a16:creationId xmlns:a16="http://schemas.microsoft.com/office/drawing/2014/main" id="{6AABD02F-6DB6-4011-8F53-8E284825A3A3}"/>
                </a:ext>
              </a:extLst>
            </p:cNvPr>
            <p:cNvSpPr/>
            <p:nvPr/>
          </p:nvSpPr>
          <p:spPr>
            <a:xfrm>
              <a:off x="10376132" y="4181828"/>
              <a:ext cx="1885718" cy="2726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lnSpc>
                  <a:spcPct val="90000"/>
                </a:lnSpc>
                <a:spcBef>
                  <a:spcPct val="0"/>
                </a:spcBef>
                <a:spcAft>
                  <a:spcPct val="35000"/>
                </a:spcAft>
              </a:pPr>
              <a:r>
                <a:rPr lang="en-US" sz="1200" dirty="0" err="1">
                  <a:latin typeface="Tw Cen MT" panose="020B0602020104020603" pitchFamily="34" charset="0"/>
                </a:rPr>
                <a:t>Rekomendasi</a:t>
              </a:r>
              <a:r>
                <a:rPr lang="en-US" sz="1200" dirty="0">
                  <a:latin typeface="Tw Cen MT" panose="020B0602020104020603" pitchFamily="34" charset="0"/>
                </a:rPr>
                <a:t> </a:t>
              </a:r>
              <a:r>
                <a:rPr lang="en-US" sz="1200" dirty="0" err="1">
                  <a:latin typeface="Tw Cen MT" panose="020B0602020104020603" pitchFamily="34" charset="0"/>
                </a:rPr>
                <a:t>Perbaikan</a:t>
              </a:r>
              <a:endParaRPr lang="en-US" sz="1200" kern="1200" dirty="0">
                <a:latin typeface="Tw Cen MT" panose="020B0602020104020603" pitchFamily="34" charset="0"/>
              </a:endParaRPr>
            </a:p>
          </p:txBody>
        </p:sp>
        <p:pic>
          <p:nvPicPr>
            <p:cNvPr id="116" name="Picture 20" descr="https://www.dakwatuna.com/wp-content/uploads/2016/03/continuous-improvement.jpg">
              <a:extLst>
                <a:ext uri="{FF2B5EF4-FFF2-40B4-BE49-F238E27FC236}">
                  <a16:creationId xmlns:a16="http://schemas.microsoft.com/office/drawing/2014/main" id="{59559A6D-1214-49A2-86D0-30C7EE43F9D5}"/>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3536" b="98005" l="3750" r="98672">
                          <a14:foregroundMark x1="37109" y1="8160" x2="25078" y2="18676"/>
                          <a14:foregroundMark x1="18906" y1="26111" x2="7969" y2="41251"/>
                          <a14:foregroundMark x1="7969" y1="41251" x2="3672" y2="63917"/>
                          <a14:foregroundMark x1="3672" y1="63917" x2="3828" y2="70898"/>
                          <a14:foregroundMark x1="3828" y1="70898" x2="4375" y2="72076"/>
                          <a14:foregroundMark x1="27344" y1="5168" x2="28906" y2="6890"/>
                          <a14:foregroundMark x1="24609" y1="3717" x2="26250" y2="4442"/>
                          <a14:foregroundMark x1="54453" y1="3717" x2="61719" y2="4896"/>
                          <a14:foregroundMark x1="61719" y1="4896" x2="76172" y2="18948"/>
                          <a14:foregroundMark x1="76172" y1="18948" x2="83203" y2="32276"/>
                          <a14:foregroundMark x1="83203" y1="32276" x2="91016" y2="67906"/>
                          <a14:foregroundMark x1="91016" y1="67906" x2="91016" y2="69991"/>
                          <a14:foregroundMark x1="94844" y1="59655" x2="98672" y2="54034"/>
                          <a14:foregroundMark x1="98672" y1="54034" x2="98672" y2="54034"/>
                          <a14:foregroundMark x1="81953" y1="77788" x2="65625" y2="92022"/>
                          <a14:foregroundMark x1="65625" y1="92022" x2="59688" y2="94107"/>
                          <a14:foregroundMark x1="59688" y1="94107" x2="23984" y2="89574"/>
                          <a14:foregroundMark x1="23984" y1="89574" x2="14922" y2="82956"/>
                          <a14:foregroundMark x1="22422" y1="98005" x2="22109" y2="95195"/>
                          <a14:foregroundMark x1="37109" y1="10154" x2="35781" y2="11695"/>
                          <a14:foregroundMark x1="63125" y1="5168" x2="68359" y2="8341"/>
                          <a14:foregroundMark x1="21814" y1="42296" x2="24178" y2="42839"/>
                          <a14:foregroundMark x1="26752" y1="42907" x2="49141" y2="42158"/>
                          <a14:foregroundMark x1="49141" y1="42158" x2="66484" y2="42974"/>
                          <a14:foregroundMark x1="66484" y1="42974" x2="70156" y2="42611"/>
                          <a14:foregroundMark x1="12031" y1="58296" x2="22969" y2="58296"/>
                          <a14:foregroundMark x1="22969" y1="58296" x2="55937" y2="56120"/>
                          <a14:foregroundMark x1="55937" y1="56120" x2="74141" y2="57752"/>
                          <a14:foregroundMark x1="20469" y1="37534" x2="18828" y2="37897"/>
                          <a14:foregroundMark x1="17305" y1="43608" x2="17031" y2="44968"/>
                          <a14:foregroundMark x1="18126" y1="39532" x2="18024" y2="40038"/>
                          <a14:foregroundMark x1="17031" y1="44968" x2="21094" y2="45966"/>
                          <a14:backgroundMark x1="17656" y1="41614" x2="17969" y2="40345"/>
                          <a14:backgroundMark x1="24453" y1="42611" x2="25469" y2="43971"/>
                          <a14:backgroundMark x1="19844" y1="41886" x2="20391" y2="41976"/>
                          <a14:backgroundMark x1="21328" y1="41160" x2="18047" y2="39347"/>
                          <a14:backgroundMark x1="17422" y1="42702" x2="17344" y2="41342"/>
                          <a14:backgroundMark x1="17422" y1="41523" x2="17734" y2="43155"/>
                          <a14:backgroundMark x1="18125" y1="40073" x2="17578" y2="42158"/>
                          <a14:backgroundMark x1="17344" y1="41795" x2="17344" y2="43608"/>
                        </a14:backgroundRemoval>
                      </a14:imgEffect>
                    </a14:imgLayer>
                  </a14:imgProps>
                </a:ext>
                <a:ext uri="{28A0092B-C50C-407E-A947-70E740481C1C}">
                  <a14:useLocalDpi xmlns:a14="http://schemas.microsoft.com/office/drawing/2010/main" val="0"/>
                </a:ext>
              </a:extLst>
            </a:blip>
            <a:srcRect/>
            <a:stretch>
              <a:fillRect/>
            </a:stretch>
          </p:blipFill>
          <p:spPr bwMode="auto">
            <a:xfrm>
              <a:off x="10884714" y="3381941"/>
              <a:ext cx="868554" cy="74848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8" name="Straight Arrow Connector 23">
            <a:extLst>
              <a:ext uri="{FF2B5EF4-FFF2-40B4-BE49-F238E27FC236}">
                <a16:creationId xmlns:a16="http://schemas.microsoft.com/office/drawing/2014/main" id="{9CEF00F7-2FF0-41A6-81ED-2BD8BE3AE655}"/>
              </a:ext>
            </a:extLst>
          </p:cNvPr>
          <p:cNvCxnSpPr>
            <a:cxnSpLocks/>
            <a:stCxn id="1042" idx="3"/>
          </p:cNvCxnSpPr>
          <p:nvPr/>
        </p:nvCxnSpPr>
        <p:spPr>
          <a:xfrm>
            <a:off x="10056844" y="3707626"/>
            <a:ext cx="788956" cy="77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F5FBE9F-84C3-4EAC-86CC-AC3439AF4C55}"/>
              </a:ext>
            </a:extLst>
          </p:cNvPr>
          <p:cNvSpPr txBox="1"/>
          <p:nvPr/>
        </p:nvSpPr>
        <p:spPr>
          <a:xfrm>
            <a:off x="4560051" y="2296478"/>
            <a:ext cx="781050" cy="616579"/>
          </a:xfrm>
          <a:prstGeom prst="rect">
            <a:avLst/>
          </a:prstGeom>
          <a:noFill/>
        </p:spPr>
        <p:txBody>
          <a:bodyPr wrap="square" rtlCol="0">
            <a:spAutoFit/>
          </a:bodyPr>
          <a:lstStyle/>
          <a:p>
            <a:pPr>
              <a:lnSpc>
                <a:spcPct val="150000"/>
              </a:lnSpc>
            </a:pPr>
            <a:r>
              <a:rPr lang="en-US" sz="1200" dirty="0" err="1">
                <a:latin typeface="Tw Cen MT" panose="020B0602020104020603" pitchFamily="34" charset="0"/>
              </a:rPr>
              <a:t>Pengujian</a:t>
            </a:r>
            <a:r>
              <a:rPr lang="en-US" sz="1200" dirty="0">
                <a:latin typeface="Tw Cen MT" panose="020B0602020104020603" pitchFamily="34" charset="0"/>
              </a:rPr>
              <a:t> </a:t>
            </a:r>
            <a:r>
              <a:rPr lang="en-US" sz="1200" dirty="0" err="1">
                <a:latin typeface="Tw Cen MT" panose="020B0602020104020603" pitchFamily="34" charset="0"/>
              </a:rPr>
              <a:t>terjadwal</a:t>
            </a:r>
            <a:endParaRPr lang="en-ID" sz="1200" dirty="0">
              <a:latin typeface="Tw Cen MT" panose="020B0602020104020603" pitchFamily="34" charset="0"/>
            </a:endParaRPr>
          </a:p>
        </p:txBody>
      </p:sp>
      <p:sp>
        <p:nvSpPr>
          <p:cNvPr id="51" name="TextBox 50">
            <a:extLst>
              <a:ext uri="{FF2B5EF4-FFF2-40B4-BE49-F238E27FC236}">
                <a16:creationId xmlns:a16="http://schemas.microsoft.com/office/drawing/2014/main" id="{A540ADB8-AE45-41FB-8319-130CFD6CBA6A}"/>
              </a:ext>
            </a:extLst>
          </p:cNvPr>
          <p:cNvSpPr txBox="1"/>
          <p:nvPr/>
        </p:nvSpPr>
        <p:spPr>
          <a:xfrm>
            <a:off x="4575459" y="4605441"/>
            <a:ext cx="781050" cy="616579"/>
          </a:xfrm>
          <a:prstGeom prst="rect">
            <a:avLst/>
          </a:prstGeom>
          <a:noFill/>
        </p:spPr>
        <p:txBody>
          <a:bodyPr wrap="square" rtlCol="0">
            <a:spAutoFit/>
          </a:bodyPr>
          <a:lstStyle/>
          <a:p>
            <a:pPr>
              <a:lnSpc>
                <a:spcPct val="150000"/>
              </a:lnSpc>
            </a:pPr>
            <a:r>
              <a:rPr lang="en-US" sz="1200" dirty="0" err="1">
                <a:latin typeface="Tw Cen MT" panose="020B0602020104020603" pitchFamily="34" charset="0"/>
              </a:rPr>
              <a:t>Pengujian</a:t>
            </a:r>
            <a:r>
              <a:rPr lang="en-US" sz="1200" dirty="0">
                <a:latin typeface="Tw Cen MT" panose="020B0602020104020603" pitchFamily="34" charset="0"/>
              </a:rPr>
              <a:t> </a:t>
            </a:r>
            <a:r>
              <a:rPr lang="en-US" sz="1200" dirty="0" err="1">
                <a:latin typeface="Tw Cen MT" panose="020B0602020104020603" pitchFamily="34" charset="0"/>
              </a:rPr>
              <a:t>terjadwal</a:t>
            </a:r>
            <a:endParaRPr lang="en-ID" sz="1200" dirty="0">
              <a:latin typeface="Tw Cen MT" panose="020B0602020104020603" pitchFamily="34" charset="0"/>
            </a:endParaRPr>
          </a:p>
        </p:txBody>
      </p:sp>
      <p:sp>
        <p:nvSpPr>
          <p:cNvPr id="52" name="Rectangle 51">
            <a:extLst>
              <a:ext uri="{FF2B5EF4-FFF2-40B4-BE49-F238E27FC236}">
                <a16:creationId xmlns:a16="http://schemas.microsoft.com/office/drawing/2014/main" id="{47F7C8E1-468F-4E86-A156-B802C7215261}"/>
              </a:ext>
            </a:extLst>
          </p:cNvPr>
          <p:cNvSpPr/>
          <p:nvPr/>
        </p:nvSpPr>
        <p:spPr>
          <a:xfrm>
            <a:off x="2757209" y="4922670"/>
            <a:ext cx="907095" cy="25823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spcBef>
                <a:spcPct val="0"/>
              </a:spcBef>
            </a:pPr>
            <a:r>
              <a:rPr lang="en-US" sz="1200" dirty="0">
                <a:latin typeface="Tw Cen MT" panose="020B0602020104020603" pitchFamily="34" charset="0"/>
              </a:rPr>
              <a:t>Linked Server</a:t>
            </a:r>
            <a:endParaRPr lang="en-US" sz="1200" kern="1200" dirty="0">
              <a:latin typeface="Tw Cen MT" panose="020B0602020104020603" pitchFamily="34" charset="0"/>
            </a:endParaRPr>
          </a:p>
        </p:txBody>
      </p:sp>
      <p:sp>
        <p:nvSpPr>
          <p:cNvPr id="53" name="Rectangle 52">
            <a:extLst>
              <a:ext uri="{FF2B5EF4-FFF2-40B4-BE49-F238E27FC236}">
                <a16:creationId xmlns:a16="http://schemas.microsoft.com/office/drawing/2014/main" id="{D90F4253-F29C-4E2F-B86D-7B59DDE1ED51}"/>
              </a:ext>
            </a:extLst>
          </p:cNvPr>
          <p:cNvSpPr/>
          <p:nvPr/>
        </p:nvSpPr>
        <p:spPr>
          <a:xfrm>
            <a:off x="2080218" y="2395407"/>
            <a:ext cx="1534856" cy="25823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3020" tIns="33020" rIns="33020" bIns="3302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ctr" defTabSz="1155700">
              <a:spcBef>
                <a:spcPct val="0"/>
              </a:spcBef>
            </a:pPr>
            <a:r>
              <a:rPr lang="en-US" sz="1200" dirty="0" err="1">
                <a:latin typeface="Tw Cen MT" panose="020B0602020104020603" pitchFamily="34" charset="0"/>
              </a:rPr>
              <a:t>Penarikan</a:t>
            </a:r>
            <a:r>
              <a:rPr lang="en-US" sz="1200" dirty="0">
                <a:latin typeface="Tw Cen MT" panose="020B0602020104020603" pitchFamily="34" charset="0"/>
              </a:rPr>
              <a:t> data </a:t>
            </a:r>
            <a:r>
              <a:rPr lang="en-US" sz="1200" dirty="0" err="1">
                <a:latin typeface="Tw Cen MT" panose="020B0602020104020603" pitchFamily="34" charset="0"/>
              </a:rPr>
              <a:t>berkala</a:t>
            </a:r>
            <a:endParaRPr lang="en-US" sz="1200" kern="1200" dirty="0">
              <a:latin typeface="Tw Cen MT" panose="020B0602020104020603" pitchFamily="34" charset="0"/>
            </a:endParaRPr>
          </a:p>
        </p:txBody>
      </p:sp>
    </p:spTree>
    <p:extLst>
      <p:ext uri="{BB962C8B-B14F-4D97-AF65-F5344CB8AC3E}">
        <p14:creationId xmlns:p14="http://schemas.microsoft.com/office/powerpoint/2010/main" val="40929020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err="1"/>
              <a:t>Contoh</a:t>
            </a:r>
            <a:r>
              <a:rPr lang="en-US" dirty="0"/>
              <a:t> Output Project DA </a:t>
            </a:r>
            <a:r>
              <a:rPr lang="en-US" dirty="0" err="1"/>
              <a:t>Itjen</a:t>
            </a:r>
            <a:r>
              <a:rPr lang="en-US" dirty="0"/>
              <a:t> (ACL)</a:t>
            </a:r>
          </a:p>
        </p:txBody>
      </p:sp>
      <p:sp>
        <p:nvSpPr>
          <p:cNvPr id="10" name="TextBox 9">
            <a:extLst>
              <a:ext uri="{FF2B5EF4-FFF2-40B4-BE49-F238E27FC236}">
                <a16:creationId xmlns:a16="http://schemas.microsoft.com/office/drawing/2014/main" id="{EA8B0D3C-A5FF-44F5-BAEA-99DF0FB28E3F}"/>
              </a:ext>
            </a:extLst>
          </p:cNvPr>
          <p:cNvSpPr txBox="1"/>
          <p:nvPr/>
        </p:nvSpPr>
        <p:spPr>
          <a:xfrm>
            <a:off x="167603" y="6082553"/>
            <a:ext cx="5408625" cy="369332"/>
          </a:xfrm>
          <a:prstGeom prst="rect">
            <a:avLst/>
          </a:prstGeom>
          <a:noFill/>
        </p:spPr>
        <p:txBody>
          <a:bodyPr wrap="square">
            <a:spAutoFit/>
          </a:bodyPr>
          <a:lstStyle/>
          <a:p>
            <a:r>
              <a:rPr lang="en-AU" dirty="0"/>
              <a:t>Server </a:t>
            </a:r>
            <a:r>
              <a:rPr lang="en-AU" dirty="0" err="1"/>
              <a:t>Axcore</a:t>
            </a:r>
            <a:r>
              <a:rPr lang="en-AU" dirty="0"/>
              <a:t> </a:t>
            </a:r>
            <a:r>
              <a:rPr lang="en-AU" dirty="0" err="1"/>
              <a:t>Itjen</a:t>
            </a:r>
            <a:r>
              <a:rPr lang="en-AU" dirty="0"/>
              <a:t> – </a:t>
            </a:r>
            <a:r>
              <a:rPr lang="en-AU" dirty="0" err="1"/>
              <a:t>Pengujian</a:t>
            </a:r>
            <a:r>
              <a:rPr lang="en-AU" dirty="0"/>
              <a:t> </a:t>
            </a:r>
            <a:r>
              <a:rPr lang="en-AU" dirty="0" err="1"/>
              <a:t>otomatis</a:t>
            </a:r>
            <a:r>
              <a:rPr lang="en-AU" dirty="0"/>
              <a:t> </a:t>
            </a:r>
            <a:r>
              <a:rPr lang="en-AU" dirty="0" err="1"/>
              <a:t>tiap</a:t>
            </a:r>
            <a:r>
              <a:rPr lang="en-AU" dirty="0"/>
              <a:t> 2 </a:t>
            </a:r>
            <a:r>
              <a:rPr lang="en-AU" dirty="0" err="1"/>
              <a:t>minggu</a:t>
            </a:r>
            <a:endParaRPr lang="en-AU" dirty="0"/>
          </a:p>
        </p:txBody>
      </p:sp>
      <p:grpSp>
        <p:nvGrpSpPr>
          <p:cNvPr id="11" name="Group 10">
            <a:extLst>
              <a:ext uri="{FF2B5EF4-FFF2-40B4-BE49-F238E27FC236}">
                <a16:creationId xmlns:a16="http://schemas.microsoft.com/office/drawing/2014/main" id="{653EE929-D6D4-43FE-ABF2-8E12760E6B7B}"/>
              </a:ext>
            </a:extLst>
          </p:cNvPr>
          <p:cNvGrpSpPr/>
          <p:nvPr/>
        </p:nvGrpSpPr>
        <p:grpSpPr>
          <a:xfrm>
            <a:off x="288905" y="881076"/>
            <a:ext cx="6209707" cy="5081591"/>
            <a:chOff x="1689100" y="1550767"/>
            <a:chExt cx="5726226" cy="4685944"/>
          </a:xfrm>
        </p:grpSpPr>
        <p:pic>
          <p:nvPicPr>
            <p:cNvPr id="12" name="Picture 11" descr="Graphical user interface, application&#10;&#10;Description automatically generated">
              <a:extLst>
                <a:ext uri="{FF2B5EF4-FFF2-40B4-BE49-F238E27FC236}">
                  <a16:creationId xmlns:a16="http://schemas.microsoft.com/office/drawing/2014/main" id="{CDDA016E-7B64-4CDF-A091-01D4E45BCD8A}"/>
                </a:ext>
              </a:extLst>
            </p:cNvPr>
            <p:cNvPicPr>
              <a:picLocks noChangeAspect="1"/>
            </p:cNvPicPr>
            <p:nvPr/>
          </p:nvPicPr>
          <p:blipFill rotWithShape="1">
            <a:blip r:embed="rId2">
              <a:extLst>
                <a:ext uri="{28A0092B-C50C-407E-A947-70E740481C1C}">
                  <a14:useLocalDpi xmlns:a14="http://schemas.microsoft.com/office/drawing/2010/main" val="0"/>
                </a:ext>
              </a:extLst>
            </a:blip>
            <a:srcRect l="1" r="53033" b="93203"/>
            <a:stretch/>
          </p:blipFill>
          <p:spPr>
            <a:xfrm>
              <a:off x="1689100" y="1550767"/>
              <a:ext cx="5726226" cy="463550"/>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33E63359-C3AB-4152-B48B-E9C0696459C8}"/>
                </a:ext>
              </a:extLst>
            </p:cNvPr>
            <p:cNvPicPr>
              <a:picLocks noChangeAspect="1"/>
            </p:cNvPicPr>
            <p:nvPr/>
          </p:nvPicPr>
          <p:blipFill rotWithShape="1">
            <a:blip r:embed="rId2">
              <a:extLst>
                <a:ext uri="{28A0092B-C50C-407E-A947-70E740481C1C}">
                  <a14:useLocalDpi xmlns:a14="http://schemas.microsoft.com/office/drawing/2010/main" val="0"/>
                </a:ext>
              </a:extLst>
            </a:blip>
            <a:srcRect l="15208" t="17382" r="22117"/>
            <a:stretch/>
          </p:blipFill>
          <p:spPr>
            <a:xfrm>
              <a:off x="1689101" y="2014317"/>
              <a:ext cx="5726225" cy="4222394"/>
            </a:xfrm>
            <a:prstGeom prst="rect">
              <a:avLst/>
            </a:prstGeom>
          </p:spPr>
        </p:pic>
      </p:grpSp>
      <p:sp>
        <p:nvSpPr>
          <p:cNvPr id="14" name="TextBox 13">
            <a:extLst>
              <a:ext uri="{FF2B5EF4-FFF2-40B4-BE49-F238E27FC236}">
                <a16:creationId xmlns:a16="http://schemas.microsoft.com/office/drawing/2014/main" id="{9E5588A8-B089-4415-93F9-7ED8929A4CCC}"/>
              </a:ext>
            </a:extLst>
          </p:cNvPr>
          <p:cNvSpPr txBox="1"/>
          <p:nvPr/>
        </p:nvSpPr>
        <p:spPr>
          <a:xfrm>
            <a:off x="6957300" y="6122288"/>
            <a:ext cx="4861011" cy="369332"/>
          </a:xfrm>
          <a:prstGeom prst="rect">
            <a:avLst/>
          </a:prstGeom>
          <a:noFill/>
        </p:spPr>
        <p:txBody>
          <a:bodyPr wrap="none" rtlCol="0">
            <a:spAutoFit/>
          </a:bodyPr>
          <a:lstStyle/>
          <a:p>
            <a:r>
              <a:rPr lang="en-AU" dirty="0"/>
              <a:t>ND </a:t>
            </a:r>
            <a:r>
              <a:rPr lang="en-AU" dirty="0" err="1"/>
              <a:t>konfirmasi</a:t>
            </a:r>
            <a:r>
              <a:rPr lang="en-AU" dirty="0"/>
              <a:t> </a:t>
            </a:r>
            <a:r>
              <a:rPr lang="en-AU" dirty="0" err="1"/>
              <a:t>atas</a:t>
            </a:r>
            <a:r>
              <a:rPr lang="en-AU" dirty="0"/>
              <a:t> </a:t>
            </a:r>
            <a:r>
              <a:rPr lang="en-AU" dirty="0" err="1"/>
              <a:t>anomali</a:t>
            </a:r>
            <a:r>
              <a:rPr lang="en-AU" dirty="0"/>
              <a:t> per </a:t>
            </a:r>
            <a:r>
              <a:rPr lang="en-AU" dirty="0" err="1"/>
              <a:t>periode</a:t>
            </a:r>
            <a:r>
              <a:rPr lang="en-AU" dirty="0"/>
              <a:t> (</a:t>
            </a:r>
            <a:r>
              <a:rPr lang="en-AU" dirty="0" err="1"/>
              <a:t>bulanan</a:t>
            </a:r>
            <a:r>
              <a:rPr lang="en-AU" dirty="0"/>
              <a:t>)</a:t>
            </a:r>
          </a:p>
        </p:txBody>
      </p:sp>
      <p:sp>
        <p:nvSpPr>
          <p:cNvPr id="15" name="TextBox 14">
            <a:extLst>
              <a:ext uri="{FF2B5EF4-FFF2-40B4-BE49-F238E27FC236}">
                <a16:creationId xmlns:a16="http://schemas.microsoft.com/office/drawing/2014/main" id="{904D203B-ECAC-420F-95BD-4A4A91951720}"/>
              </a:ext>
            </a:extLst>
          </p:cNvPr>
          <p:cNvSpPr txBox="1"/>
          <p:nvPr/>
        </p:nvSpPr>
        <p:spPr>
          <a:xfrm>
            <a:off x="6963227" y="815150"/>
            <a:ext cx="3446777" cy="523220"/>
          </a:xfrm>
          <a:prstGeom prst="rect">
            <a:avLst/>
          </a:prstGeom>
          <a:noFill/>
        </p:spPr>
        <p:txBody>
          <a:bodyPr wrap="none" rtlCol="0">
            <a:spAutoFit/>
          </a:bodyPr>
          <a:lstStyle/>
          <a:p>
            <a:r>
              <a:rPr lang="en-US" sz="2800" dirty="0" err="1">
                <a:ln w="0"/>
                <a:effectLst>
                  <a:outerShdw blurRad="38100" dist="19050" dir="2700000" algn="tl" rotWithShape="0">
                    <a:schemeClr val="dk1">
                      <a:alpha val="40000"/>
                    </a:schemeClr>
                  </a:outerShdw>
                </a:effectLst>
              </a:rPr>
              <a:t>Pengujian</a:t>
            </a:r>
            <a:r>
              <a:rPr lang="en-US" sz="2800" dirty="0">
                <a:ln w="0"/>
                <a:effectLst>
                  <a:outerShdw blurRad="38100" dist="19050" dir="2700000" algn="tl" rotWithShape="0">
                    <a:schemeClr val="dk1">
                      <a:alpha val="40000"/>
                    </a:schemeClr>
                  </a:outerShdw>
                </a:effectLst>
              </a:rPr>
              <a:t> </a:t>
            </a:r>
            <a:r>
              <a:rPr lang="en-US" sz="2800" dirty="0" err="1">
                <a:ln w="0"/>
                <a:effectLst>
                  <a:outerShdw blurRad="38100" dist="19050" dir="2700000" algn="tl" rotWithShape="0">
                    <a:schemeClr val="dk1">
                      <a:alpha val="40000"/>
                    </a:schemeClr>
                  </a:outerShdw>
                </a:effectLst>
              </a:rPr>
              <a:t>Terjadwal</a:t>
            </a:r>
            <a:endParaRPr lang="en-AU" sz="2800" dirty="0">
              <a:ln w="0"/>
              <a:effectLst>
                <a:outerShdw blurRad="38100" dist="19050" dir="2700000" algn="tl" rotWithShape="0">
                  <a:schemeClr val="dk1">
                    <a:alpha val="40000"/>
                  </a:schemeClr>
                </a:outerShdw>
              </a:effectLst>
            </a:endParaRPr>
          </a:p>
        </p:txBody>
      </p:sp>
      <p:pic>
        <p:nvPicPr>
          <p:cNvPr id="16" name="Picture 15">
            <a:extLst>
              <a:ext uri="{FF2B5EF4-FFF2-40B4-BE49-F238E27FC236}">
                <a16:creationId xmlns:a16="http://schemas.microsoft.com/office/drawing/2014/main" id="{A7335F66-5756-4D7B-A14B-7E5C2DF1C311}"/>
              </a:ext>
            </a:extLst>
          </p:cNvPr>
          <p:cNvPicPr>
            <a:picLocks noChangeAspect="1"/>
          </p:cNvPicPr>
          <p:nvPr/>
        </p:nvPicPr>
        <p:blipFill>
          <a:blip r:embed="rId3"/>
          <a:stretch>
            <a:fillRect/>
          </a:stretch>
        </p:blipFill>
        <p:spPr>
          <a:xfrm>
            <a:off x="6957300" y="1272086"/>
            <a:ext cx="5041829" cy="4901609"/>
          </a:xfrm>
          <a:prstGeom prst="rect">
            <a:avLst/>
          </a:prstGeom>
        </p:spPr>
      </p:pic>
    </p:spTree>
    <p:extLst>
      <p:ext uri="{BB962C8B-B14F-4D97-AF65-F5344CB8AC3E}">
        <p14:creationId xmlns:p14="http://schemas.microsoft.com/office/powerpoint/2010/main" val="29245877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err="1"/>
              <a:t>Contoh</a:t>
            </a:r>
            <a:r>
              <a:rPr lang="en-US" dirty="0"/>
              <a:t> Output Project DA </a:t>
            </a:r>
            <a:r>
              <a:rPr lang="en-US" dirty="0" err="1"/>
              <a:t>Itjen</a:t>
            </a:r>
            <a:r>
              <a:rPr lang="en-US" dirty="0"/>
              <a:t> (SQL)</a:t>
            </a:r>
          </a:p>
        </p:txBody>
      </p:sp>
      <p:sp>
        <p:nvSpPr>
          <p:cNvPr id="3" name="TextBox 2">
            <a:extLst>
              <a:ext uri="{FF2B5EF4-FFF2-40B4-BE49-F238E27FC236}">
                <a16:creationId xmlns:a16="http://schemas.microsoft.com/office/drawing/2014/main" id="{F65CED95-89B3-4C4C-948D-7B7BA296272F}"/>
              </a:ext>
            </a:extLst>
          </p:cNvPr>
          <p:cNvSpPr txBox="1"/>
          <p:nvPr/>
        </p:nvSpPr>
        <p:spPr>
          <a:xfrm>
            <a:off x="836778" y="5936232"/>
            <a:ext cx="2361354" cy="307777"/>
          </a:xfrm>
          <a:prstGeom prst="rect">
            <a:avLst/>
          </a:prstGeom>
          <a:noFill/>
        </p:spPr>
        <p:txBody>
          <a:bodyPr wrap="square">
            <a:spAutoFit/>
          </a:bodyPr>
          <a:lstStyle/>
          <a:p>
            <a:r>
              <a:rPr lang="en-AU" dirty="0"/>
              <a:t>Dashboard CA BPJS IR3</a:t>
            </a:r>
          </a:p>
        </p:txBody>
      </p:sp>
      <p:pic>
        <p:nvPicPr>
          <p:cNvPr id="4" name="Picture 3">
            <a:extLst>
              <a:ext uri="{FF2B5EF4-FFF2-40B4-BE49-F238E27FC236}">
                <a16:creationId xmlns:a16="http://schemas.microsoft.com/office/drawing/2014/main" id="{CCD7C708-D023-44CB-85FC-DDDC55F95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077" y="1325918"/>
            <a:ext cx="10307180" cy="45577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a:extLst>
              <a:ext uri="{FF2B5EF4-FFF2-40B4-BE49-F238E27FC236}">
                <a16:creationId xmlns:a16="http://schemas.microsoft.com/office/drawing/2014/main" id="{7A6E9600-0744-40F6-AF76-DD073A33AE1D}"/>
              </a:ext>
            </a:extLst>
          </p:cNvPr>
          <p:cNvSpPr txBox="1"/>
          <p:nvPr/>
        </p:nvSpPr>
        <p:spPr>
          <a:xfrm>
            <a:off x="4020572" y="741142"/>
            <a:ext cx="4299712" cy="584775"/>
          </a:xfrm>
          <a:prstGeom prst="rect">
            <a:avLst/>
          </a:prstGeom>
          <a:noFill/>
        </p:spPr>
        <p:txBody>
          <a:bodyPr wrap="square" rtlCol="0">
            <a:spAutoFit/>
          </a:bodyPr>
          <a:lstStyle/>
          <a:p>
            <a:r>
              <a:rPr lang="en-US" sz="3200" dirty="0">
                <a:ln w="0"/>
                <a:effectLst>
                  <a:outerShdw blurRad="38100" dist="19050" dir="2700000" algn="tl" rotWithShape="0">
                    <a:schemeClr val="dk1">
                      <a:alpha val="40000"/>
                    </a:schemeClr>
                  </a:outerShdw>
                </a:effectLst>
              </a:rPr>
              <a:t>Dashboard </a:t>
            </a:r>
            <a:r>
              <a:rPr lang="en-US" sz="3200" i="1" dirty="0">
                <a:ln w="0"/>
                <a:effectLst>
                  <a:outerShdw blurRad="38100" dist="19050" dir="2700000" algn="tl" rotWithShape="0">
                    <a:schemeClr val="dk1">
                      <a:alpha val="40000"/>
                    </a:schemeClr>
                  </a:outerShdw>
                </a:effectLst>
              </a:rPr>
              <a:t>Project</a:t>
            </a:r>
            <a:r>
              <a:rPr lang="en-US" sz="3200" dirty="0">
                <a:ln w="0"/>
                <a:effectLst>
                  <a:outerShdw blurRad="38100" dist="19050" dir="2700000" algn="tl" rotWithShape="0">
                    <a:schemeClr val="dk1">
                      <a:alpha val="40000"/>
                    </a:schemeClr>
                  </a:outerShdw>
                </a:effectLst>
              </a:rPr>
              <a:t> CA</a:t>
            </a:r>
            <a:endParaRPr lang="en-AU" sz="3200" dirty="0">
              <a:ln w="0"/>
              <a:effectLst>
                <a:outerShdw blurRad="38100" dist="19050" dir="2700000" algn="tl" rotWithShape="0">
                  <a:schemeClr val="dk1">
                    <a:alpha val="40000"/>
                  </a:schemeClr>
                </a:outerShdw>
              </a:effectLst>
            </a:endParaRPr>
          </a:p>
        </p:txBody>
      </p:sp>
      <p:sp>
        <p:nvSpPr>
          <p:cNvPr id="7" name="TextBox 6">
            <a:extLst>
              <a:ext uri="{FF2B5EF4-FFF2-40B4-BE49-F238E27FC236}">
                <a16:creationId xmlns:a16="http://schemas.microsoft.com/office/drawing/2014/main" id="{02970863-46FA-4047-BF56-BF15F0CD6E79}"/>
              </a:ext>
            </a:extLst>
          </p:cNvPr>
          <p:cNvSpPr txBox="1"/>
          <p:nvPr/>
        </p:nvSpPr>
        <p:spPr>
          <a:xfrm>
            <a:off x="5411153" y="5875104"/>
            <a:ext cx="5994534" cy="523220"/>
          </a:xfrm>
          <a:prstGeom prst="rect">
            <a:avLst/>
          </a:prstGeom>
          <a:noFill/>
        </p:spPr>
        <p:txBody>
          <a:bodyPr wrap="square">
            <a:spAutoFit/>
          </a:bodyPr>
          <a:lstStyle/>
          <a:p>
            <a:pPr algn="r"/>
            <a:r>
              <a:rPr lang="en-AU" dirty="0"/>
              <a:t>per </a:t>
            </a:r>
            <a:r>
              <a:rPr lang="en-AU" dirty="0" err="1"/>
              <a:t>tgl</a:t>
            </a:r>
            <a:r>
              <a:rPr lang="en-AU" dirty="0"/>
              <a:t> 18 November 2021</a:t>
            </a:r>
          </a:p>
          <a:p>
            <a:pPr algn="r"/>
            <a:r>
              <a:rPr lang="en-AU" dirty="0" err="1"/>
              <a:t>masih</a:t>
            </a:r>
            <a:r>
              <a:rPr lang="en-AU" dirty="0"/>
              <a:t> </a:t>
            </a:r>
            <a:r>
              <a:rPr lang="en-AU" dirty="0" err="1"/>
              <a:t>sedang</a:t>
            </a:r>
            <a:r>
              <a:rPr lang="en-AU" dirty="0"/>
              <a:t> </a:t>
            </a:r>
            <a:r>
              <a:rPr lang="en-AU" dirty="0" err="1"/>
              <a:t>tahap</a:t>
            </a:r>
            <a:r>
              <a:rPr lang="en-AU" dirty="0"/>
              <a:t> </a:t>
            </a:r>
            <a:r>
              <a:rPr lang="en-AU" dirty="0" err="1"/>
              <a:t>diskusi</a:t>
            </a:r>
            <a:r>
              <a:rPr lang="en-AU" dirty="0"/>
              <a:t> </a:t>
            </a:r>
            <a:r>
              <a:rPr lang="en-AU" dirty="0" err="1"/>
              <a:t>untuk</a:t>
            </a:r>
            <a:r>
              <a:rPr lang="en-AU" dirty="0"/>
              <a:t> </a:t>
            </a:r>
            <a:r>
              <a:rPr lang="en-AU" dirty="0" err="1"/>
              <a:t>pengaliran</a:t>
            </a:r>
            <a:r>
              <a:rPr lang="en-AU" dirty="0"/>
              <a:t> data </a:t>
            </a:r>
            <a:r>
              <a:rPr lang="en-AU" dirty="0" err="1"/>
              <a:t>selanjutnya</a:t>
            </a:r>
            <a:endParaRPr lang="en-AU" dirty="0"/>
          </a:p>
        </p:txBody>
      </p:sp>
    </p:spTree>
    <p:extLst>
      <p:ext uri="{BB962C8B-B14F-4D97-AF65-F5344CB8AC3E}">
        <p14:creationId xmlns:p14="http://schemas.microsoft.com/office/powerpoint/2010/main" val="37537851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err="1"/>
              <a:t>Contoh</a:t>
            </a:r>
            <a:r>
              <a:rPr lang="en-US" dirty="0"/>
              <a:t> Output Project DA </a:t>
            </a:r>
            <a:r>
              <a:rPr lang="en-US" dirty="0" err="1"/>
              <a:t>Itjen</a:t>
            </a:r>
            <a:endParaRPr lang="en-US" dirty="0"/>
          </a:p>
        </p:txBody>
      </p:sp>
      <p:grpSp>
        <p:nvGrpSpPr>
          <p:cNvPr id="2" name="Group 1">
            <a:extLst>
              <a:ext uri="{FF2B5EF4-FFF2-40B4-BE49-F238E27FC236}">
                <a16:creationId xmlns:a16="http://schemas.microsoft.com/office/drawing/2014/main" id="{67D83D24-CAE4-48B9-B07A-56B7DE2AE32B}"/>
              </a:ext>
            </a:extLst>
          </p:cNvPr>
          <p:cNvGrpSpPr/>
          <p:nvPr/>
        </p:nvGrpSpPr>
        <p:grpSpPr>
          <a:xfrm>
            <a:off x="498624" y="731909"/>
            <a:ext cx="10939475" cy="5830975"/>
            <a:chOff x="113034" y="731909"/>
            <a:chExt cx="10939475" cy="5830975"/>
          </a:xfrm>
        </p:grpSpPr>
        <p:sp>
          <p:nvSpPr>
            <p:cNvPr id="4" name="TextBox 3">
              <a:extLst>
                <a:ext uri="{FF2B5EF4-FFF2-40B4-BE49-F238E27FC236}">
                  <a16:creationId xmlns:a16="http://schemas.microsoft.com/office/drawing/2014/main" id="{676B5AD1-5ACE-43A5-B236-1A786F0B401A}"/>
                </a:ext>
              </a:extLst>
            </p:cNvPr>
            <p:cNvSpPr txBox="1"/>
            <p:nvPr/>
          </p:nvSpPr>
          <p:spPr>
            <a:xfrm>
              <a:off x="567266" y="6193552"/>
              <a:ext cx="4580678" cy="369332"/>
            </a:xfrm>
            <a:prstGeom prst="rect">
              <a:avLst/>
            </a:prstGeom>
            <a:noFill/>
          </p:spPr>
          <p:txBody>
            <a:bodyPr wrap="none" rtlCol="0">
              <a:spAutoFit/>
            </a:bodyPr>
            <a:lstStyle/>
            <a:p>
              <a:r>
                <a:rPr lang="en-US" dirty="0" err="1"/>
                <a:t>Penarikan</a:t>
              </a:r>
              <a:r>
                <a:rPr lang="en-US" dirty="0"/>
                <a:t> Data dan </a:t>
              </a:r>
              <a:r>
                <a:rPr lang="en-US" dirty="0" err="1"/>
                <a:t>Pengujian</a:t>
              </a:r>
              <a:r>
                <a:rPr lang="en-US" dirty="0"/>
                <a:t> </a:t>
              </a:r>
              <a:r>
                <a:rPr lang="en-US" dirty="0" err="1"/>
                <a:t>dilakukan</a:t>
              </a:r>
              <a:r>
                <a:rPr lang="en-US" dirty="0"/>
                <a:t> </a:t>
              </a:r>
              <a:r>
                <a:rPr lang="en-US" dirty="0" err="1"/>
                <a:t>harian</a:t>
              </a:r>
              <a:endParaRPr lang="en-ID" dirty="0"/>
            </a:p>
          </p:txBody>
        </p:sp>
        <p:sp>
          <p:nvSpPr>
            <p:cNvPr id="5" name="TextBox 4">
              <a:extLst>
                <a:ext uri="{FF2B5EF4-FFF2-40B4-BE49-F238E27FC236}">
                  <a16:creationId xmlns:a16="http://schemas.microsoft.com/office/drawing/2014/main" id="{7E7882A1-84B7-4F9F-930B-AFDB4FBCF75F}"/>
                </a:ext>
              </a:extLst>
            </p:cNvPr>
            <p:cNvSpPr txBox="1"/>
            <p:nvPr/>
          </p:nvSpPr>
          <p:spPr>
            <a:xfrm>
              <a:off x="113034" y="731909"/>
              <a:ext cx="4844557" cy="523220"/>
            </a:xfrm>
            <a:prstGeom prst="rect">
              <a:avLst/>
            </a:prstGeom>
            <a:noFill/>
          </p:spPr>
          <p:txBody>
            <a:bodyPr wrap="square" rtlCol="0">
              <a:spAutoFit/>
            </a:bodyPr>
            <a:lstStyle/>
            <a:p>
              <a:pPr algn="ctr"/>
              <a:r>
                <a:rPr lang="en-US" sz="2800" dirty="0" err="1">
                  <a:ln w="0"/>
                  <a:effectLst>
                    <a:outerShdw blurRad="38100" dist="19050" dir="2700000" algn="tl" rotWithShape="0">
                      <a:schemeClr val="dk1">
                        <a:alpha val="40000"/>
                      </a:schemeClr>
                    </a:outerShdw>
                  </a:effectLst>
                </a:rPr>
                <a:t>Aplikasi</a:t>
              </a:r>
              <a:r>
                <a:rPr lang="en-US" sz="2800" dirty="0">
                  <a:ln w="0"/>
                  <a:effectLst>
                    <a:outerShdw blurRad="38100" dist="19050" dir="2700000" algn="tl" rotWithShape="0">
                      <a:schemeClr val="dk1">
                        <a:alpha val="40000"/>
                      </a:schemeClr>
                    </a:outerShdw>
                  </a:effectLst>
                </a:rPr>
                <a:t> CA (</a:t>
              </a:r>
              <a:r>
                <a:rPr lang="en-US" sz="2800" dirty="0" err="1">
                  <a:ln w="0"/>
                  <a:effectLst>
                    <a:outerShdw blurRad="38100" dist="19050" dir="2700000" algn="tl" rotWithShape="0">
                      <a:schemeClr val="dk1">
                        <a:alpha val="40000"/>
                      </a:schemeClr>
                    </a:outerShdw>
                  </a:effectLst>
                </a:rPr>
                <a:t>eReviu</a:t>
              </a:r>
              <a:r>
                <a:rPr lang="en-US" sz="2800" dirty="0">
                  <a:ln w="0"/>
                  <a:effectLst>
                    <a:outerShdw blurRad="38100" dist="19050" dir="2700000" algn="tl" rotWithShape="0">
                      <a:schemeClr val="dk1">
                        <a:alpha val="40000"/>
                      </a:schemeClr>
                    </a:outerShdw>
                  </a:effectLst>
                </a:rPr>
                <a:t> LK)</a:t>
              </a:r>
              <a:endParaRPr lang="en-AU" sz="2800" dirty="0">
                <a:ln w="0"/>
                <a:effectLst>
                  <a:outerShdw blurRad="38100" dist="19050" dir="2700000" algn="tl" rotWithShape="0">
                    <a:schemeClr val="dk1">
                      <a:alpha val="40000"/>
                    </a:schemeClr>
                  </a:outerShdw>
                </a:effectLst>
              </a:endParaRPr>
            </a:p>
          </p:txBody>
        </p:sp>
        <p:pic>
          <p:nvPicPr>
            <p:cNvPr id="7" name="Picture 6">
              <a:extLst>
                <a:ext uri="{FF2B5EF4-FFF2-40B4-BE49-F238E27FC236}">
                  <a16:creationId xmlns:a16="http://schemas.microsoft.com/office/drawing/2014/main" id="{A09E8430-CFA6-4B52-84CD-102A908D7E45}"/>
                </a:ext>
              </a:extLst>
            </p:cNvPr>
            <p:cNvPicPr>
              <a:picLocks noChangeAspect="1"/>
            </p:cNvPicPr>
            <p:nvPr/>
          </p:nvPicPr>
          <p:blipFill>
            <a:blip r:embed="rId2"/>
            <a:stretch>
              <a:fillRect/>
            </a:stretch>
          </p:blipFill>
          <p:spPr>
            <a:xfrm>
              <a:off x="407970" y="1041964"/>
              <a:ext cx="10644539" cy="5358848"/>
            </a:xfrm>
            <a:prstGeom prst="rect">
              <a:avLst/>
            </a:prstGeom>
          </p:spPr>
        </p:pic>
        <p:sp>
          <p:nvSpPr>
            <p:cNvPr id="3" name="TextBox 2">
              <a:extLst>
                <a:ext uri="{FF2B5EF4-FFF2-40B4-BE49-F238E27FC236}">
                  <a16:creationId xmlns:a16="http://schemas.microsoft.com/office/drawing/2014/main" id="{E796B431-7000-4E0E-A7C0-D98EAEFA8896}"/>
                </a:ext>
              </a:extLst>
            </p:cNvPr>
            <p:cNvSpPr txBox="1"/>
            <p:nvPr/>
          </p:nvSpPr>
          <p:spPr>
            <a:xfrm>
              <a:off x="8379957" y="5927850"/>
              <a:ext cx="2508993" cy="369332"/>
            </a:xfrm>
            <a:prstGeom prst="rect">
              <a:avLst/>
            </a:prstGeom>
            <a:noFill/>
          </p:spPr>
          <p:txBody>
            <a:bodyPr wrap="square">
              <a:spAutoFit/>
            </a:bodyPr>
            <a:lstStyle/>
            <a:p>
              <a:pPr algn="r"/>
              <a:r>
                <a:rPr lang="en-AU" dirty="0"/>
                <a:t>ereviulk.kemenkeu.go.id</a:t>
              </a:r>
            </a:p>
          </p:txBody>
        </p:sp>
      </p:grpSp>
    </p:spTree>
    <p:extLst>
      <p:ext uri="{BB962C8B-B14F-4D97-AF65-F5344CB8AC3E}">
        <p14:creationId xmlns:p14="http://schemas.microsoft.com/office/powerpoint/2010/main" val="1698595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5963622F-F306-C5A2-2FB1-9D4DA1831B32}"/>
              </a:ext>
            </a:extLst>
          </p:cNvPr>
          <p:cNvPicPr>
            <a:picLocks noGrp="1" noChangeAspect="1"/>
          </p:cNvPicPr>
          <p:nvPr>
            <p:ph type="pic" sz="quarter" idx="4294967295"/>
          </p:nvPr>
        </p:nvPicPr>
        <p:blipFill rotWithShape="1">
          <a:blip r:embed="rId2">
            <a:extLst>
              <a:ext uri="{28A0092B-C50C-407E-A947-70E740481C1C}">
                <a14:useLocalDpi xmlns:a14="http://schemas.microsoft.com/office/drawing/2010/main" val="0"/>
              </a:ext>
            </a:extLst>
          </a:blip>
          <a:srcRect l="26000" t="7784" b="7846"/>
          <a:stretch/>
        </p:blipFill>
        <p:spPr>
          <a:xfrm>
            <a:off x="6665100" y="2286000"/>
            <a:ext cx="3006725" cy="2286000"/>
          </a:xfrm>
        </p:spPr>
      </p:pic>
      <p:pic>
        <p:nvPicPr>
          <p:cNvPr id="19" name="Picture Placeholder 18">
            <a:extLst>
              <a:ext uri="{FF2B5EF4-FFF2-40B4-BE49-F238E27FC236}">
                <a16:creationId xmlns:a16="http://schemas.microsoft.com/office/drawing/2014/main" id="{1AB3CE91-3215-5AC4-ED17-86BD2A9533AA}"/>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500" r="24634"/>
          <a:stretch/>
        </p:blipFill>
        <p:spPr>
          <a:xfrm>
            <a:off x="9585510" y="2278063"/>
            <a:ext cx="2676525" cy="2286000"/>
          </a:xfrm>
        </p:spPr>
      </p:pic>
      <p:pic>
        <p:nvPicPr>
          <p:cNvPr id="13" name="Picture Placeholder 12">
            <a:extLst>
              <a:ext uri="{FF2B5EF4-FFF2-40B4-BE49-F238E27FC236}">
                <a16:creationId xmlns:a16="http://schemas.microsoft.com/office/drawing/2014/main" id="{A4532B16-1767-9122-61ED-1A8526BCB293}"/>
              </a:ext>
            </a:extLst>
          </p:cNvPr>
          <p:cNvPicPr>
            <a:picLocks noGrp="1" noChangeAspect="1"/>
          </p:cNvPicPr>
          <p:nvPr>
            <p:ph type="pic" sz="quarter" idx="4294967295"/>
          </p:nvPr>
        </p:nvPicPr>
        <p:blipFill rotWithShape="1">
          <a:blip r:embed="rId4">
            <a:extLst>
              <a:ext uri="{28A0092B-C50C-407E-A947-70E740481C1C}">
                <a14:useLocalDpi xmlns:a14="http://schemas.microsoft.com/office/drawing/2010/main" val="0"/>
              </a:ext>
            </a:extLst>
          </a:blip>
          <a:srcRect l="9504" t="6958" r="16495" b="6958"/>
          <a:stretch/>
        </p:blipFill>
        <p:spPr>
          <a:xfrm>
            <a:off x="4138797" y="2286000"/>
            <a:ext cx="3008313" cy="2286000"/>
          </a:xfrm>
        </p:spPr>
      </p:pic>
      <p:pic>
        <p:nvPicPr>
          <p:cNvPr id="9" name="Picture Placeholder 8">
            <a:extLst>
              <a:ext uri="{FF2B5EF4-FFF2-40B4-BE49-F238E27FC236}">
                <a16:creationId xmlns:a16="http://schemas.microsoft.com/office/drawing/2014/main" id="{2CFAB71A-98F6-AD3F-93A6-190E93CB775E}"/>
              </a:ext>
            </a:extLst>
          </p:cNvPr>
          <p:cNvPicPr>
            <a:picLocks noGrp="1" noChangeAspect="1"/>
          </p:cNvPicPr>
          <p:nvPr>
            <p:ph type="pic" sz="quarter" idx="4294967295"/>
          </p:nvPr>
        </p:nvPicPr>
        <p:blipFill rotWithShape="1">
          <a:blip r:embed="rId5">
            <a:extLst>
              <a:ext uri="{28A0092B-C50C-407E-A947-70E740481C1C}">
                <a14:useLocalDpi xmlns:a14="http://schemas.microsoft.com/office/drawing/2010/main" val="0"/>
              </a:ext>
            </a:extLst>
          </a:blip>
          <a:srcRect t="7808" r="20000" b="7808"/>
          <a:stretch/>
        </p:blipFill>
        <p:spPr>
          <a:xfrm>
            <a:off x="1813469" y="2282825"/>
            <a:ext cx="3006725" cy="2286000"/>
          </a:xfrm>
        </p:spPr>
      </p:pic>
      <p:pic>
        <p:nvPicPr>
          <p:cNvPr id="5" name="Picture Placeholder 4">
            <a:extLst>
              <a:ext uri="{FF2B5EF4-FFF2-40B4-BE49-F238E27FC236}">
                <a16:creationId xmlns:a16="http://schemas.microsoft.com/office/drawing/2014/main" id="{252723E2-36FE-1535-1FE4-2EBD093B6C2D}"/>
              </a:ext>
            </a:extLst>
          </p:cNvPr>
          <p:cNvPicPr>
            <a:picLocks noGrp="1" noChangeAspect="1"/>
          </p:cNvPicPr>
          <p:nvPr>
            <p:ph type="pic" sz="quarter" idx="4294967295"/>
          </p:nvPr>
        </p:nvPicPr>
        <p:blipFill rotWithShape="1">
          <a:blip r:embed="rId6">
            <a:extLst>
              <a:ext uri="{28A0092B-C50C-407E-A947-70E740481C1C}">
                <a14:useLocalDpi xmlns:a14="http://schemas.microsoft.com/office/drawing/2010/main" val="0"/>
              </a:ext>
            </a:extLst>
          </a:blip>
          <a:srcRect l="33811" t="9142" r="11501" b="6482"/>
          <a:stretch/>
        </p:blipFill>
        <p:spPr>
          <a:xfrm>
            <a:off x="0" y="2286000"/>
            <a:ext cx="2438400" cy="2286000"/>
          </a:xfrm>
        </p:spPr>
      </p:pic>
      <p:sp>
        <p:nvSpPr>
          <p:cNvPr id="1535" name="Slide Number"/>
          <p:cNvSpPr txBox="1">
            <a:spLocks noGrp="1"/>
          </p:cNvSpPr>
          <p:nvPr>
            <p:ph type="sldNum" sz="quarter" idx="4294967295"/>
          </p:nvPr>
        </p:nvSpPr>
        <p:spPr>
          <a:xfrm>
            <a:off x="0" y="150813"/>
            <a:ext cx="365125" cy="333375"/>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defTabSz="412750" hangingPunct="0"/>
            <a:fld id="{86CB4B4D-7CA3-9044-876B-883B54F8677D}" type="slidenum">
              <a:rPr kern="0">
                <a:solidFill>
                  <a:srgbClr val="000000"/>
                </a:solidFill>
                <a:latin typeface="Montserrat Bold"/>
                <a:sym typeface="Montserrat Bold"/>
              </a:rPr>
              <a:pPr defTabSz="412750" hangingPunct="0"/>
              <a:t>4</a:t>
            </a:fld>
            <a:endParaRPr kern="0">
              <a:solidFill>
                <a:srgbClr val="000000"/>
              </a:solidFill>
              <a:latin typeface="Montserrat Bold"/>
              <a:sym typeface="Montserrat Bold"/>
            </a:endParaRPr>
          </a:p>
        </p:txBody>
      </p:sp>
      <p:sp>
        <p:nvSpPr>
          <p:cNvPr id="1539" name="We have our award-winning designer."/>
          <p:cNvSpPr txBox="1"/>
          <p:nvPr/>
        </p:nvSpPr>
        <p:spPr>
          <a:xfrm>
            <a:off x="1138071" y="894734"/>
            <a:ext cx="3609056" cy="12331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nSpc>
                <a:spcPct val="90000"/>
              </a:lnSpc>
              <a:defRPr sz="5000" cap="none" spc="0">
                <a:solidFill>
                  <a:srgbClr val="FFFFFF"/>
                </a:solidFill>
                <a:latin typeface="+mn-lt"/>
                <a:ea typeface="+mn-ea"/>
                <a:cs typeface="+mn-cs"/>
                <a:sym typeface="Montserrat SemiBold"/>
              </a:defRPr>
            </a:lvl1pPr>
          </a:lstStyle>
          <a:p>
            <a:pPr defTabSz="914217">
              <a:lnSpc>
                <a:spcPct val="80000"/>
              </a:lnSpc>
            </a:pPr>
            <a:r>
              <a:rPr lang="en-US" sz="3200" b="1" kern="100" dirty="0">
                <a:solidFill>
                  <a:schemeClr val="bg1"/>
                </a:solidFill>
                <a:latin typeface="Bahnschrift" panose="020B0502040204020203" pitchFamily="34" charset="0"/>
              </a:rPr>
              <a:t>How Data and Analytics Infused in Our Daily Lives</a:t>
            </a:r>
            <a:endParaRPr lang="ru-RU" sz="3200" b="1" kern="100" dirty="0">
              <a:solidFill>
                <a:schemeClr val="bg1"/>
              </a:solidFill>
              <a:latin typeface="Bahnschrift" panose="020B0502040204020203" pitchFamily="34" charset="0"/>
            </a:endParaRPr>
          </a:p>
        </p:txBody>
      </p:sp>
      <p:grpSp>
        <p:nvGrpSpPr>
          <p:cNvPr id="7" name="Group 6">
            <a:extLst>
              <a:ext uri="{FF2B5EF4-FFF2-40B4-BE49-F238E27FC236}">
                <a16:creationId xmlns:a16="http://schemas.microsoft.com/office/drawing/2014/main" id="{4A7FAD0F-97E4-F45C-9322-59670F39E649}"/>
              </a:ext>
            </a:extLst>
          </p:cNvPr>
          <p:cNvGrpSpPr/>
          <p:nvPr/>
        </p:nvGrpSpPr>
        <p:grpSpPr>
          <a:xfrm>
            <a:off x="5398591" y="841043"/>
            <a:ext cx="6428081" cy="1400671"/>
            <a:chOff x="5398591" y="718270"/>
            <a:chExt cx="6428081" cy="1400671"/>
          </a:xfrm>
        </p:grpSpPr>
        <p:sp>
          <p:nvSpPr>
            <p:cNvPr id="1536" name="Shape"/>
            <p:cNvSpPr/>
            <p:nvPr/>
          </p:nvSpPr>
          <p:spPr>
            <a:xfrm flipH="1">
              <a:off x="11405378" y="718270"/>
              <a:ext cx="421294" cy="42138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3829" y="21600"/>
                  </a:lnTo>
                  <a:lnTo>
                    <a:pt x="3829" y="3828"/>
                  </a:lnTo>
                  <a:lnTo>
                    <a:pt x="21600" y="3828"/>
                  </a:lnTo>
                  <a:lnTo>
                    <a:pt x="21600" y="0"/>
                  </a:lnTo>
                  <a:lnTo>
                    <a:pt x="0" y="0"/>
                  </a:lnTo>
                  <a:close/>
                </a:path>
              </a:pathLst>
            </a:custGeom>
            <a:solidFill>
              <a:srgbClr val="FFFFFF"/>
            </a:solidFill>
            <a:ln w="12700">
              <a:miter lim="400000"/>
            </a:ln>
          </p:spPr>
          <p:txBody>
            <a:bodyPr lIns="0" tIns="0" rIns="0" bIns="0" anchor="ctr"/>
            <a:lstStyle/>
            <a:p>
              <a:pPr algn="ctr" defTabSz="412750" hangingPunct="0">
                <a:defRPr sz="3200" cap="none" spc="0">
                  <a:solidFill>
                    <a:srgbClr val="FFFFFF"/>
                  </a:solidFill>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sp>
          <p:nvSpPr>
            <p:cNvPr id="1537" name="Shape"/>
            <p:cNvSpPr/>
            <p:nvPr/>
          </p:nvSpPr>
          <p:spPr>
            <a:xfrm rot="10800000" flipH="1">
              <a:off x="5398591" y="1697552"/>
              <a:ext cx="421293" cy="42138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3829" y="21600"/>
                  </a:lnTo>
                  <a:lnTo>
                    <a:pt x="3829" y="3828"/>
                  </a:lnTo>
                  <a:lnTo>
                    <a:pt x="21600" y="3828"/>
                  </a:lnTo>
                  <a:lnTo>
                    <a:pt x="21600" y="0"/>
                  </a:lnTo>
                  <a:lnTo>
                    <a:pt x="0" y="0"/>
                  </a:lnTo>
                  <a:close/>
                </a:path>
              </a:pathLst>
            </a:custGeom>
            <a:solidFill>
              <a:srgbClr val="FFFFFF"/>
            </a:solidFill>
            <a:ln w="12700">
              <a:miter lim="400000"/>
            </a:ln>
          </p:spPr>
          <p:txBody>
            <a:bodyPr lIns="0" tIns="0" rIns="0" bIns="0" anchor="ctr"/>
            <a:lstStyle/>
            <a:p>
              <a:pPr algn="ctr" defTabSz="412750" hangingPunct="0">
                <a:defRPr sz="3200" cap="none" spc="0">
                  <a:solidFill>
                    <a:srgbClr val="FFFFFF"/>
                  </a:solidFill>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sp>
          <p:nvSpPr>
            <p:cNvPr id="1540" name="Lorem ipsum dolor sit amet, consectetur adipiscing elit, sed do eiusmod tempor. Lorem ipsum dolor sit amet, consectetur adipiscing elit, sed do eiusmod tempor. Lorem ipsum dolor sit amet, consectetur adipiscing elit, sed do eiusmod tempor. Lorem ipsum do"/>
            <p:cNvSpPr txBox="1"/>
            <p:nvPr/>
          </p:nvSpPr>
          <p:spPr>
            <a:xfrm>
              <a:off x="5609237" y="832104"/>
              <a:ext cx="6015399" cy="11356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pPr algn="just" defTabSz="412750" hangingPunct="0">
                <a:lnSpc>
                  <a:spcPct val="120000"/>
                </a:lnSpc>
                <a:defRPr sz="2500" cap="none" spc="75">
                  <a:solidFill>
                    <a:srgbClr val="FFFFFF"/>
                  </a:solidFill>
                  <a:latin typeface="Raleway"/>
                  <a:ea typeface="Raleway"/>
                  <a:cs typeface="Raleway"/>
                  <a:sym typeface="Raleway"/>
                </a:defRPr>
              </a:pPr>
              <a:r>
                <a:rPr lang="en-US" sz="1200" b="1" kern="0" spc="38" dirty="0" err="1">
                  <a:solidFill>
                    <a:schemeClr val="bg1"/>
                  </a:solidFill>
                  <a:latin typeface="Bahnschrift" panose="020B0502040204020203" pitchFamily="34" charset="0"/>
                  <a:sym typeface="Raleway"/>
                </a:rPr>
                <a:t>Setiap</a:t>
              </a:r>
              <a:r>
                <a:rPr lang="en-US" sz="1200" b="1" kern="0" spc="38" dirty="0">
                  <a:solidFill>
                    <a:schemeClr val="bg1"/>
                  </a:solidFill>
                  <a:latin typeface="Bahnschrift" panose="020B0502040204020203" pitchFamily="34" charset="0"/>
                  <a:sym typeface="Raleway"/>
                </a:rPr>
                <a:t> </a:t>
              </a:r>
              <a:r>
                <a:rPr lang="en-US" sz="1200" b="1" kern="0" spc="38" dirty="0" err="1">
                  <a:solidFill>
                    <a:schemeClr val="bg1"/>
                  </a:solidFill>
                  <a:latin typeface="Bahnschrift" panose="020B0502040204020203" pitchFamily="34" charset="0"/>
                  <a:sym typeface="Raleway"/>
                </a:rPr>
                <a:t>saat</a:t>
              </a:r>
              <a:r>
                <a:rPr lang="en-US" sz="1200" b="1" kern="0" spc="38" dirty="0">
                  <a:solidFill>
                    <a:schemeClr val="bg1"/>
                  </a:solidFill>
                  <a:latin typeface="Bahnschrift" panose="020B0502040204020203" pitchFamily="34" charset="0"/>
                  <a:sym typeface="Raleway"/>
                </a:rPr>
                <a:t> </a:t>
              </a:r>
              <a:r>
                <a:rPr lang="en-US" sz="1200" b="1" kern="0" spc="38" dirty="0" err="1">
                  <a:solidFill>
                    <a:schemeClr val="bg1"/>
                  </a:solidFill>
                  <a:latin typeface="Bahnschrift" panose="020B0502040204020203" pitchFamily="34" charset="0"/>
                  <a:sym typeface="Raleway"/>
                </a:rPr>
                <a:t>kita</a:t>
              </a:r>
              <a:r>
                <a:rPr lang="en-US" sz="1200" b="1" kern="0" spc="38" dirty="0">
                  <a:solidFill>
                    <a:schemeClr val="bg1"/>
                  </a:solidFill>
                  <a:latin typeface="Bahnschrift" panose="020B0502040204020203" pitchFamily="34" charset="0"/>
                  <a:sym typeface="Raleway"/>
                </a:rPr>
                <a:t> </a:t>
              </a:r>
              <a:r>
                <a:rPr lang="en-US" sz="1200" b="1" kern="0" spc="38" dirty="0" err="1">
                  <a:solidFill>
                    <a:schemeClr val="bg1"/>
                  </a:solidFill>
                  <a:latin typeface="Bahnschrift" panose="020B0502040204020203" pitchFamily="34" charset="0"/>
                  <a:sym typeface="Raleway"/>
                </a:rPr>
                <a:t>tidak</a:t>
              </a:r>
              <a:r>
                <a:rPr lang="en-US" sz="1200" b="1" kern="0" spc="38" dirty="0">
                  <a:solidFill>
                    <a:schemeClr val="bg1"/>
                  </a:solidFill>
                  <a:latin typeface="Bahnschrift" panose="020B0502040204020203" pitchFamily="34" charset="0"/>
                  <a:sym typeface="Raleway"/>
                </a:rPr>
                <a:t> </a:t>
              </a:r>
              <a:r>
                <a:rPr lang="en-US" sz="1200" b="1" kern="0" spc="38" dirty="0" err="1">
                  <a:solidFill>
                    <a:schemeClr val="bg1"/>
                  </a:solidFill>
                  <a:latin typeface="Bahnschrift" panose="020B0502040204020203" pitchFamily="34" charset="0"/>
                  <a:sym typeface="Raleway"/>
                </a:rPr>
                <a:t>bisa</a:t>
              </a:r>
              <a:r>
                <a:rPr lang="en-US" sz="1200" b="1" kern="0" spc="38" dirty="0">
                  <a:solidFill>
                    <a:schemeClr val="bg1"/>
                  </a:solidFill>
                  <a:latin typeface="Bahnschrift" panose="020B0502040204020203" pitchFamily="34" charset="0"/>
                  <a:sym typeface="Raleway"/>
                </a:rPr>
                <a:t> </a:t>
              </a:r>
              <a:r>
                <a:rPr lang="en-US" sz="1200" b="1" kern="0" spc="38" dirty="0" err="1">
                  <a:solidFill>
                    <a:schemeClr val="bg1"/>
                  </a:solidFill>
                  <a:latin typeface="Bahnschrift" panose="020B0502040204020203" pitchFamily="34" charset="0"/>
                  <a:sym typeface="Raleway"/>
                </a:rPr>
                <a:t>terlepas</a:t>
              </a:r>
              <a:r>
                <a:rPr lang="en-US" sz="1200" b="1" kern="0" spc="38" dirty="0">
                  <a:solidFill>
                    <a:schemeClr val="bg1"/>
                  </a:solidFill>
                  <a:latin typeface="Bahnschrift" panose="020B0502040204020203" pitchFamily="34" charset="0"/>
                  <a:sym typeface="Raleway"/>
                </a:rPr>
                <a:t> </a:t>
              </a:r>
              <a:r>
                <a:rPr lang="en-US" sz="1200" b="1" kern="0" spc="38" dirty="0" err="1">
                  <a:solidFill>
                    <a:schemeClr val="bg1"/>
                  </a:solidFill>
                  <a:latin typeface="Bahnschrift" panose="020B0502040204020203" pitchFamily="34" charset="0"/>
                  <a:sym typeface="Raleway"/>
                </a:rPr>
                <a:t>dari</a:t>
              </a:r>
              <a:r>
                <a:rPr lang="en-US" sz="1200" b="1" kern="0" spc="38" dirty="0">
                  <a:solidFill>
                    <a:schemeClr val="bg1"/>
                  </a:solidFill>
                  <a:latin typeface="Bahnschrift" panose="020B0502040204020203" pitchFamily="34" charset="0"/>
                  <a:sym typeface="Raleway"/>
                </a:rPr>
                <a:t> </a:t>
              </a:r>
              <a:r>
                <a:rPr lang="en-US" sz="1200" b="1" kern="0" spc="38" dirty="0" err="1">
                  <a:solidFill>
                    <a:schemeClr val="bg1"/>
                  </a:solidFill>
                  <a:latin typeface="Bahnschrift" panose="020B0502040204020203" pitchFamily="34" charset="0"/>
                  <a:sym typeface="Raleway"/>
                </a:rPr>
                <a:t>teknologi</a:t>
              </a:r>
              <a:r>
                <a:rPr lang="en-US" sz="1200" b="1" kern="0" spc="38" dirty="0">
                  <a:solidFill>
                    <a:schemeClr val="bg1"/>
                  </a:solidFill>
                  <a:latin typeface="Bahnschrift" panose="020B0502040204020203" pitchFamily="34" charset="0"/>
                  <a:sym typeface="Raleway"/>
                </a:rPr>
                <a:t> dan data. </a:t>
              </a:r>
              <a:r>
                <a:rPr lang="en-US" sz="1200" b="0" i="0" dirty="0">
                  <a:solidFill>
                    <a:schemeClr val="bg1"/>
                  </a:solidFill>
                  <a:effectLst/>
                  <a:latin typeface="Bahnschrift" panose="020B0502040204020203" pitchFamily="34" charset="0"/>
                </a:rPr>
                <a:t>Data juga </a:t>
              </a:r>
              <a:r>
                <a:rPr lang="en-US" sz="1200" b="0" i="0" dirty="0" err="1">
                  <a:solidFill>
                    <a:schemeClr val="bg1"/>
                  </a:solidFill>
                  <a:effectLst/>
                  <a:latin typeface="Bahnschrift" panose="020B0502040204020203" pitchFamily="34" charset="0"/>
                </a:rPr>
                <a:t>menunjukkan</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bahwa</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pengguna</a:t>
              </a:r>
              <a:r>
                <a:rPr lang="en-US" sz="1200" b="0" i="0" dirty="0">
                  <a:solidFill>
                    <a:schemeClr val="bg1"/>
                  </a:solidFill>
                  <a:effectLst/>
                  <a:latin typeface="Bahnschrift" panose="020B0502040204020203" pitchFamily="34" charset="0"/>
                </a:rPr>
                <a:t> internet rata-rata dunia </a:t>
              </a:r>
              <a:r>
                <a:rPr lang="en-US" sz="1200" b="0" i="0" dirty="0" err="1">
                  <a:solidFill>
                    <a:schemeClr val="bg1"/>
                  </a:solidFill>
                  <a:effectLst/>
                  <a:latin typeface="Bahnschrift" panose="020B0502040204020203" pitchFamily="34" charset="0"/>
                </a:rPr>
                <a:t>menghabiskan</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waktu</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selama</a:t>
              </a:r>
              <a:r>
                <a:rPr lang="en-US" sz="1200" b="0" i="0" dirty="0">
                  <a:solidFill>
                    <a:schemeClr val="bg1"/>
                  </a:solidFill>
                  <a:effectLst/>
                  <a:latin typeface="Bahnschrift" panose="020B0502040204020203" pitchFamily="34" charset="0"/>
                </a:rPr>
                <a:t> </a:t>
              </a:r>
              <a:r>
                <a:rPr lang="en-US" sz="1200" b="1" i="0" dirty="0">
                  <a:solidFill>
                    <a:schemeClr val="bg1"/>
                  </a:solidFill>
                  <a:effectLst/>
                  <a:highlight>
                    <a:srgbClr val="FF00FF"/>
                  </a:highlight>
                  <a:latin typeface="Bahnschrift" panose="020B0502040204020203" pitchFamily="34" charset="0"/>
                </a:rPr>
                <a:t>6 jam 43 </a:t>
              </a:r>
              <a:r>
                <a:rPr lang="en-US" sz="1200" b="1" i="0" dirty="0" err="1">
                  <a:solidFill>
                    <a:schemeClr val="bg1"/>
                  </a:solidFill>
                  <a:effectLst/>
                  <a:highlight>
                    <a:srgbClr val="FF00FF"/>
                  </a:highlight>
                  <a:latin typeface="Bahnschrift" panose="020B0502040204020203" pitchFamily="34" charset="0"/>
                </a:rPr>
                <a:t>menit</a:t>
              </a:r>
              <a:r>
                <a:rPr lang="en-US" sz="1200" b="0" i="0" dirty="0">
                  <a:solidFill>
                    <a:schemeClr val="bg1"/>
                  </a:solidFill>
                  <a:effectLst/>
                  <a:highlight>
                    <a:srgbClr val="FF00FF"/>
                  </a:highlight>
                  <a:latin typeface="Bahnschrift" panose="020B0502040204020203" pitchFamily="34" charset="0"/>
                </a:rPr>
                <a:t>. </a:t>
              </a:r>
              <a:r>
                <a:rPr lang="en-US" sz="1200" b="0" i="0" dirty="0" err="1">
                  <a:solidFill>
                    <a:schemeClr val="bg1"/>
                  </a:solidFill>
                  <a:effectLst/>
                  <a:latin typeface="Bahnschrift" panose="020B0502040204020203" pitchFamily="34" charset="0"/>
                </a:rPr>
                <a:t>Sepertiga</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dari</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waktu</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untuk</a:t>
              </a:r>
              <a:r>
                <a:rPr lang="en-US" sz="1200" b="0" i="0" dirty="0">
                  <a:solidFill>
                    <a:schemeClr val="bg1"/>
                  </a:solidFill>
                  <a:effectLst/>
                  <a:latin typeface="Bahnschrift" panose="020B0502040204020203" pitchFamily="34" charset="0"/>
                </a:rPr>
                <a:t> </a:t>
              </a:r>
              <a:r>
                <a:rPr lang="en-US" sz="1200" b="0" i="1" dirty="0">
                  <a:solidFill>
                    <a:schemeClr val="bg1"/>
                  </a:solidFill>
                  <a:effectLst/>
                  <a:latin typeface="Bahnschrift" panose="020B0502040204020203" pitchFamily="34" charset="0"/>
                </a:rPr>
                <a:t>online</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tersebut</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digunakan</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untuk</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mengakses</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sosial</a:t>
              </a:r>
              <a:r>
                <a:rPr lang="en-US" sz="1200" b="0" i="0" dirty="0">
                  <a:solidFill>
                    <a:schemeClr val="bg1"/>
                  </a:solidFill>
                  <a:effectLst/>
                  <a:latin typeface="Bahnschrift" panose="020B0502040204020203" pitchFamily="34" charset="0"/>
                </a:rPr>
                <a:t> media. </a:t>
              </a:r>
              <a:r>
                <a:rPr lang="en-US" sz="1200" b="0" i="0" dirty="0" err="1">
                  <a:solidFill>
                    <a:schemeClr val="bg1"/>
                  </a:solidFill>
                  <a:effectLst/>
                  <a:latin typeface="Bahnschrift" panose="020B0502040204020203" pitchFamily="34" charset="0"/>
                </a:rPr>
                <a:t>Atau</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setara</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dengan</a:t>
              </a:r>
              <a:r>
                <a:rPr lang="en-US" sz="1200" b="0" i="0" dirty="0">
                  <a:solidFill>
                    <a:schemeClr val="bg1"/>
                  </a:solidFill>
                  <a:effectLst/>
                  <a:latin typeface="Bahnschrift" panose="020B0502040204020203" pitchFamily="34" charset="0"/>
                </a:rPr>
                <a:t> </a:t>
              </a:r>
              <a:r>
                <a:rPr lang="en-US" sz="1200" b="1" i="0" dirty="0">
                  <a:solidFill>
                    <a:schemeClr val="bg1"/>
                  </a:solidFill>
                  <a:effectLst/>
                  <a:latin typeface="Bahnschrift" panose="020B0502040204020203" pitchFamily="34" charset="0"/>
                </a:rPr>
                <a:t>2 jam 24 </a:t>
              </a:r>
              <a:r>
                <a:rPr lang="en-US" sz="1200" b="1" i="0" dirty="0" err="1">
                  <a:solidFill>
                    <a:schemeClr val="bg1"/>
                  </a:solidFill>
                  <a:effectLst/>
                  <a:latin typeface="Bahnschrift" panose="020B0502040204020203" pitchFamily="34" charset="0"/>
                </a:rPr>
                <a:t>menit</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setiap</a:t>
              </a:r>
              <a:r>
                <a:rPr lang="en-US" sz="1200" b="0" i="0" dirty="0">
                  <a:solidFill>
                    <a:schemeClr val="bg1"/>
                  </a:solidFill>
                  <a:effectLst/>
                  <a:latin typeface="Bahnschrift" panose="020B0502040204020203" pitchFamily="34" charset="0"/>
                </a:rPr>
                <a:t> </a:t>
              </a:r>
              <a:r>
                <a:rPr lang="en-US" sz="1200" b="0" i="0" dirty="0" err="1">
                  <a:solidFill>
                    <a:schemeClr val="bg1"/>
                  </a:solidFill>
                  <a:effectLst/>
                  <a:latin typeface="Bahnschrift" panose="020B0502040204020203" pitchFamily="34" charset="0"/>
                </a:rPr>
                <a:t>harinya</a:t>
              </a:r>
              <a:r>
                <a:rPr lang="en-US" sz="1200" b="0" i="0" dirty="0">
                  <a:solidFill>
                    <a:schemeClr val="bg1"/>
                  </a:solidFill>
                  <a:effectLst/>
                  <a:latin typeface="Bahnschrift" panose="020B0502040204020203" pitchFamily="34" charset="0"/>
                </a:rPr>
                <a:t>.</a:t>
              </a:r>
              <a:endParaRPr sz="1200" kern="0" spc="38" dirty="0">
                <a:solidFill>
                  <a:schemeClr val="bg1"/>
                </a:solidFill>
                <a:latin typeface="Bahnschrift" panose="020B0502040204020203" pitchFamily="34" charset="0"/>
                <a:sym typeface="Raleway"/>
              </a:endParaRPr>
            </a:p>
          </p:txBody>
        </p:sp>
      </p:grpSp>
      <p:sp>
        <p:nvSpPr>
          <p:cNvPr id="1542" name="Jane Doe."/>
          <p:cNvSpPr txBox="1"/>
          <p:nvPr/>
        </p:nvSpPr>
        <p:spPr>
          <a:xfrm>
            <a:off x="7363010" y="4644697"/>
            <a:ext cx="2222500" cy="293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ctr">
              <a:lnSpc>
                <a:spcPct val="90000"/>
              </a:lnSpc>
              <a:defRPr sz="3500" cap="none" spc="0">
                <a:solidFill>
                  <a:srgbClr val="FFFFFF"/>
                </a:solidFill>
                <a:latin typeface="+mn-lt"/>
                <a:ea typeface="+mn-ea"/>
                <a:cs typeface="+mn-cs"/>
                <a:sym typeface="Montserrat SemiBold"/>
              </a:defRPr>
            </a:lvl1pPr>
          </a:lstStyle>
          <a:p>
            <a:pPr defTabSz="412750" hangingPunct="0"/>
            <a:r>
              <a:rPr lang="en-US" sz="1750" kern="0" dirty="0" err="1">
                <a:latin typeface="Montserrat SemiBold"/>
              </a:rPr>
              <a:t>Aktivitas</a:t>
            </a:r>
            <a:r>
              <a:rPr lang="en-US" sz="1750" kern="0" dirty="0">
                <a:latin typeface="Montserrat SemiBold"/>
              </a:rPr>
              <a:t> Sore</a:t>
            </a:r>
            <a:endParaRPr sz="1750" kern="0" dirty="0">
              <a:latin typeface="Montserrat SemiBold"/>
            </a:endParaRPr>
          </a:p>
        </p:txBody>
      </p:sp>
      <p:sp>
        <p:nvSpPr>
          <p:cNvPr id="1544" name="John Doe."/>
          <p:cNvSpPr txBox="1"/>
          <p:nvPr/>
        </p:nvSpPr>
        <p:spPr>
          <a:xfrm>
            <a:off x="9801410" y="4644697"/>
            <a:ext cx="2222500" cy="293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ctr">
              <a:lnSpc>
                <a:spcPct val="90000"/>
              </a:lnSpc>
              <a:defRPr sz="3500" cap="none" spc="0">
                <a:solidFill>
                  <a:srgbClr val="FFFFFF"/>
                </a:solidFill>
                <a:latin typeface="+mn-lt"/>
                <a:ea typeface="+mn-ea"/>
                <a:cs typeface="+mn-cs"/>
                <a:sym typeface="Montserrat SemiBold"/>
              </a:defRPr>
            </a:lvl1pPr>
          </a:lstStyle>
          <a:p>
            <a:pPr defTabSz="412750" hangingPunct="0"/>
            <a:r>
              <a:rPr lang="en-US" sz="1750" kern="0" dirty="0" err="1">
                <a:latin typeface="Montserrat SemiBold"/>
              </a:rPr>
              <a:t>Aktivitas</a:t>
            </a:r>
            <a:r>
              <a:rPr lang="en-US" sz="1750" kern="0" dirty="0">
                <a:latin typeface="Montserrat SemiBold"/>
              </a:rPr>
              <a:t> Malam</a:t>
            </a:r>
            <a:endParaRPr sz="1750" kern="0" dirty="0">
              <a:latin typeface="Montserrat SemiBold"/>
            </a:endParaRPr>
          </a:p>
        </p:txBody>
      </p:sp>
      <p:sp>
        <p:nvSpPr>
          <p:cNvPr id="1546" name="Mike Doe."/>
          <p:cNvSpPr txBox="1"/>
          <p:nvPr/>
        </p:nvSpPr>
        <p:spPr>
          <a:xfrm>
            <a:off x="4924610" y="4644697"/>
            <a:ext cx="2222500" cy="293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ctr">
              <a:lnSpc>
                <a:spcPct val="90000"/>
              </a:lnSpc>
              <a:defRPr sz="3500" cap="none" spc="0">
                <a:solidFill>
                  <a:srgbClr val="FFFFFF"/>
                </a:solidFill>
                <a:latin typeface="+mn-lt"/>
                <a:ea typeface="+mn-ea"/>
                <a:cs typeface="+mn-cs"/>
                <a:sym typeface="Montserrat SemiBold"/>
              </a:defRPr>
            </a:lvl1pPr>
          </a:lstStyle>
          <a:p>
            <a:pPr defTabSz="412750" hangingPunct="0"/>
            <a:r>
              <a:rPr lang="en-US" sz="1750" kern="0" dirty="0" err="1">
                <a:latin typeface="Montserrat SemiBold"/>
              </a:rPr>
              <a:t>Aktivitas</a:t>
            </a:r>
            <a:r>
              <a:rPr lang="en-US" sz="1750" kern="0" dirty="0">
                <a:latin typeface="Montserrat SemiBold"/>
              </a:rPr>
              <a:t> Siang</a:t>
            </a:r>
            <a:endParaRPr sz="1750" kern="0" dirty="0">
              <a:latin typeface="Montserrat SemiBold"/>
            </a:endParaRPr>
          </a:p>
        </p:txBody>
      </p:sp>
      <p:sp>
        <p:nvSpPr>
          <p:cNvPr id="1548" name="David Doe."/>
          <p:cNvSpPr txBox="1"/>
          <p:nvPr/>
        </p:nvSpPr>
        <p:spPr>
          <a:xfrm>
            <a:off x="137980" y="4623075"/>
            <a:ext cx="2222500" cy="293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r">
              <a:lnSpc>
                <a:spcPct val="90000"/>
              </a:lnSpc>
              <a:defRPr sz="3500" cap="none" spc="0">
                <a:solidFill>
                  <a:srgbClr val="FFFFFF"/>
                </a:solidFill>
                <a:latin typeface="+mn-lt"/>
                <a:ea typeface="+mn-ea"/>
                <a:cs typeface="+mn-cs"/>
                <a:sym typeface="Montserrat SemiBold"/>
              </a:defRPr>
            </a:lvl1pPr>
          </a:lstStyle>
          <a:p>
            <a:pPr defTabSz="412750" hangingPunct="0"/>
            <a:r>
              <a:rPr lang="en-US" sz="1750" kern="0" dirty="0" err="1">
                <a:latin typeface="Montserrat SemiBold"/>
              </a:rPr>
              <a:t>Aktivitas</a:t>
            </a:r>
            <a:r>
              <a:rPr lang="en-US" sz="1750" kern="0" dirty="0">
                <a:latin typeface="Montserrat SemiBold"/>
              </a:rPr>
              <a:t> Pagi</a:t>
            </a:r>
            <a:endParaRPr sz="1750" kern="0" dirty="0">
              <a:latin typeface="Montserrat SemiBold"/>
            </a:endParaRPr>
          </a:p>
        </p:txBody>
      </p:sp>
      <p:sp>
        <p:nvSpPr>
          <p:cNvPr id="1550" name="Katherine Doe."/>
          <p:cNvSpPr txBox="1"/>
          <p:nvPr/>
        </p:nvSpPr>
        <p:spPr>
          <a:xfrm>
            <a:off x="2486210" y="4644697"/>
            <a:ext cx="2222500" cy="293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ctr">
              <a:lnSpc>
                <a:spcPct val="90000"/>
              </a:lnSpc>
              <a:defRPr sz="3500" cap="none" spc="0">
                <a:solidFill>
                  <a:srgbClr val="FFFFFF"/>
                </a:solidFill>
                <a:latin typeface="+mn-lt"/>
                <a:ea typeface="+mn-ea"/>
                <a:cs typeface="+mn-cs"/>
                <a:sym typeface="Montserrat SemiBold"/>
              </a:defRPr>
            </a:lvl1pPr>
          </a:lstStyle>
          <a:p>
            <a:pPr defTabSz="412750" hangingPunct="0"/>
            <a:r>
              <a:rPr lang="en-US" sz="1750" kern="0" dirty="0" err="1">
                <a:latin typeface="Montserrat SemiBold"/>
              </a:rPr>
              <a:t>Aktivitas</a:t>
            </a:r>
            <a:r>
              <a:rPr lang="en-US" sz="1750" kern="0" dirty="0">
                <a:latin typeface="Montserrat SemiBold"/>
              </a:rPr>
              <a:t> Kantor</a:t>
            </a:r>
            <a:endParaRPr sz="1750" kern="0" dirty="0">
              <a:latin typeface="Montserrat SemiBold"/>
            </a:endParaRPr>
          </a:p>
        </p:txBody>
      </p:sp>
      <p:pic>
        <p:nvPicPr>
          <p:cNvPr id="45" name="Picture 8" descr="WhatsApp Desktop on the Mac App Store">
            <a:extLst>
              <a:ext uri="{FF2B5EF4-FFF2-40B4-BE49-F238E27FC236}">
                <a16:creationId xmlns:a16="http://schemas.microsoft.com/office/drawing/2014/main" id="{5AD7C969-4B0C-26C3-DF0C-58539D76EACE}"/>
              </a:ext>
            </a:extLst>
          </p:cNvPr>
          <p:cNvPicPr>
            <a:picLocks noChangeAspect="1" noChangeArrowheads="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92095" y="5113152"/>
            <a:ext cx="691952" cy="69195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0" descr="TWITTER png images | PNGWing">
            <a:extLst>
              <a:ext uri="{FF2B5EF4-FFF2-40B4-BE49-F238E27FC236}">
                <a16:creationId xmlns:a16="http://schemas.microsoft.com/office/drawing/2014/main" id="{E5203D16-AC09-C53A-7A4D-5E3097D17D1E}"/>
              </a:ext>
            </a:extLst>
          </p:cNvPr>
          <p:cNvPicPr>
            <a:picLocks noChangeAspect="1" noChangeArrowheads="1"/>
          </p:cNvPicPr>
          <p:nvPr/>
        </p:nvPicPr>
        <p:blipFill>
          <a:blip r:embed="rId9" cstate="email">
            <a:extLst>
              <a:ext uri="{BEBA8EAE-BF5A-486C-A8C5-ECC9F3942E4B}">
                <a14:imgProps xmlns:a14="http://schemas.microsoft.com/office/drawing/2010/main">
                  <a14:imgLayer r:embed="rId10">
                    <a14:imgEffect>
                      <a14:backgroundRemoval t="10000" b="90000" l="10000" r="90000">
                        <a14:foregroundMark x1="41389" y1="56944" x2="68889" y2="39444"/>
                        <a14:foregroundMark x1="68889" y1="39444" x2="68889" y2="39167"/>
                        <a14:foregroundMark x1="28889" y1="37222" x2="53333" y2="63056"/>
                        <a14:foregroundMark x1="64167" y1="34722" x2="52778" y2="59722"/>
                        <a14:foregroundMark x1="66944" y1="37778" x2="48056" y2="35278"/>
                        <a14:foregroundMark x1="73611" y1="38056" x2="58889" y2="64167"/>
                        <a14:foregroundMark x1="58889" y1="64167" x2="58889" y2="64167"/>
                        <a14:foregroundMark x1="50000" y1="66111" x2="30556" y2="64444"/>
                        <a14:foregroundMark x1="30556" y1="64444" x2="30556" y2="64444"/>
                        <a14:foregroundMark x1="40000" y1="53333" x2="30000" y2="48333"/>
                      </a14:backgroundRemoval>
                    </a14:imgEffect>
                  </a14:imgLayer>
                </a14:imgProps>
              </a:ext>
              <a:ext uri="{28A0092B-C50C-407E-A947-70E740481C1C}">
                <a14:useLocalDpi xmlns:a14="http://schemas.microsoft.com/office/drawing/2010/main" val="0"/>
              </a:ext>
            </a:extLst>
          </a:blip>
          <a:srcRect/>
          <a:stretch>
            <a:fillRect/>
          </a:stretch>
        </p:blipFill>
        <p:spPr bwMode="auto">
          <a:xfrm>
            <a:off x="774902" y="5747265"/>
            <a:ext cx="691953" cy="69195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6" descr="Strava (@Strava) | Twitter">
            <a:extLst>
              <a:ext uri="{FF2B5EF4-FFF2-40B4-BE49-F238E27FC236}">
                <a16:creationId xmlns:a16="http://schemas.microsoft.com/office/drawing/2014/main" id="{D6EA9DA1-0E2F-B007-26AE-51CF2D7C1EF5}"/>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1606758" y="5181192"/>
            <a:ext cx="566074" cy="56607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Telkomsel Shares Soar after Injecting IDR 2.1 Trillion into Gojek">
            <a:extLst>
              <a:ext uri="{FF2B5EF4-FFF2-40B4-BE49-F238E27FC236}">
                <a16:creationId xmlns:a16="http://schemas.microsoft.com/office/drawing/2014/main" id="{FD353A78-EBF8-A51D-8CC4-37B9E496B9A8}"/>
              </a:ext>
            </a:extLst>
          </p:cNvPr>
          <p:cNvPicPr>
            <a:picLocks noChangeAspect="1" noChangeArrowheads="1"/>
          </p:cNvPicPr>
          <p:nvPr/>
        </p:nvPicPr>
        <p:blipFill rotWithShape="1">
          <a:blip r:embed="rId12" cstate="email">
            <a:extLst>
              <a:ext uri="{BEBA8EAE-BF5A-486C-A8C5-ECC9F3942E4B}">
                <a14:imgProps xmlns:a14="http://schemas.microsoft.com/office/drawing/2010/main">
                  <a14:imgLayer r:embed="rId13">
                    <a14:imgEffect>
                      <a14:backgroundRemoval t="9594" b="89955" l="9992" r="89967">
                        <a14:foregroundMark x1="51631" y1="34900" x2="51468" y2="27753"/>
                        <a14:foregroundMark x1="49388" y1="9594" x2="52732" y2="9981"/>
                        <a14:foregroundMark x1="36623" y1="70959" x2="36705" y2="76111"/>
                        <a14:foregroundMark x1="41395" y1="69092" x2="43108" y2="67611"/>
                        <a14:foregroundMark x1="51550" y1="70444" x2="52121" y2="75660"/>
                        <a14:foregroundMark x1="55302" y1="71797" x2="55465" y2="74630"/>
                        <a14:foregroundMark x1="65457" y1="68577" x2="65946" y2="72312"/>
                      </a14:backgroundRemoval>
                    </a14:imgEffect>
                  </a14:imgLayer>
                </a14:imgProps>
              </a:ext>
              <a:ext uri="{28A0092B-C50C-407E-A947-70E740481C1C}">
                <a14:useLocalDpi xmlns:a14="http://schemas.microsoft.com/office/drawing/2010/main" val="0"/>
              </a:ext>
            </a:extLst>
          </a:blip>
          <a:srcRect l="28079" t="5791" r="24498" b="13267"/>
          <a:stretch/>
        </p:blipFill>
        <p:spPr bwMode="auto">
          <a:xfrm>
            <a:off x="1514744" y="5805104"/>
            <a:ext cx="792624" cy="85677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a:extLst>
              <a:ext uri="{FF2B5EF4-FFF2-40B4-BE49-F238E27FC236}">
                <a16:creationId xmlns:a16="http://schemas.microsoft.com/office/drawing/2014/main" id="{FE905E7A-EB08-A211-1ED3-F935D8AB9FF3}"/>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2686573" y="5093300"/>
            <a:ext cx="566075" cy="424556"/>
          </a:xfrm>
          <a:prstGeom prst="rect">
            <a:avLst/>
          </a:prstGeom>
          <a:noFill/>
          <a:extLst>
            <a:ext uri="{909E8E84-426E-40DD-AFC4-6F175D3DCCD1}">
              <a14:hiddenFill xmlns:a14="http://schemas.microsoft.com/office/drawing/2010/main">
                <a:solidFill>
                  <a:srgbClr val="FFFFFF"/>
                </a:solidFill>
              </a14:hiddenFill>
            </a:ext>
          </a:extLst>
        </p:spPr>
      </p:pic>
      <p:pic>
        <p:nvPicPr>
          <p:cNvPr id="51" name="Graphic 50">
            <a:extLst>
              <a:ext uri="{FF2B5EF4-FFF2-40B4-BE49-F238E27FC236}">
                <a16:creationId xmlns:a16="http://schemas.microsoft.com/office/drawing/2014/main" id="{2109FCC9-3739-54ED-2B42-8F32F80DA54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64733" y="5079207"/>
            <a:ext cx="437427" cy="437427"/>
          </a:xfrm>
          <a:prstGeom prst="rect">
            <a:avLst/>
          </a:prstGeom>
        </p:spPr>
      </p:pic>
      <p:pic>
        <p:nvPicPr>
          <p:cNvPr id="52" name="Picture 8" descr="WhatsApp Desktop on the Mac App Store">
            <a:extLst>
              <a:ext uri="{FF2B5EF4-FFF2-40B4-BE49-F238E27FC236}">
                <a16:creationId xmlns:a16="http://schemas.microsoft.com/office/drawing/2014/main" id="{BC5CF26C-2EA5-D624-78EC-D5BAE358D6C8}"/>
              </a:ext>
            </a:extLst>
          </p:cNvPr>
          <p:cNvPicPr>
            <a:picLocks noChangeAspect="1" noChangeArrowheads="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84980" y="4998377"/>
            <a:ext cx="647125" cy="6471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loudera | The Hybrid Data Company">
            <a:extLst>
              <a:ext uri="{FF2B5EF4-FFF2-40B4-BE49-F238E27FC236}">
                <a16:creationId xmlns:a16="http://schemas.microsoft.com/office/drawing/2014/main" id="{10329071-D10C-4D10-2160-5779A27AABE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8926" t="14549" r="6015" b="23544"/>
          <a:stretch/>
        </p:blipFill>
        <p:spPr bwMode="auto">
          <a:xfrm>
            <a:off x="2686573" y="5747265"/>
            <a:ext cx="2025039" cy="76773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Tiktok turun? Masalah saat ini dan pemadaman | Downdetector">
            <a:extLst>
              <a:ext uri="{FF2B5EF4-FFF2-40B4-BE49-F238E27FC236}">
                <a16:creationId xmlns:a16="http://schemas.microsoft.com/office/drawing/2014/main" id="{C8A77EBD-0137-F55E-4095-6301D0DAF8F4}"/>
              </a:ext>
            </a:extLst>
          </p:cNvPr>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5220745" y="5874504"/>
            <a:ext cx="640495" cy="64049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Reels Instagram Apk Download FREE [100% Working] - Gamescrewapp">
            <a:extLst>
              <a:ext uri="{FF2B5EF4-FFF2-40B4-BE49-F238E27FC236}">
                <a16:creationId xmlns:a16="http://schemas.microsoft.com/office/drawing/2014/main" id="{2C050CBD-9C7A-C711-D850-8BF53F4DBF21}"/>
              </a:ext>
            </a:extLst>
          </p:cNvPr>
          <p:cNvPicPr>
            <a:picLocks noChangeAspect="1" noChangeArrowheads="1"/>
          </p:cNvPicPr>
          <p:nvPr/>
        </p:nvPicPr>
        <p:blipFill>
          <a:blip r:embed="rId19" cstate="email">
            <a:extLst>
              <a:ext uri="{BEBA8EAE-BF5A-486C-A8C5-ECC9F3942E4B}">
                <a14:imgProps xmlns:a14="http://schemas.microsoft.com/office/drawing/2010/main">
                  <a14:imgLayer r:embed="rId20">
                    <a14:imgEffect>
                      <a14:backgroundRemoval t="7813" b="91875" l="5313" r="91563">
                        <a14:foregroundMark x1="19688" y1="10938" x2="70625" y2="15625"/>
                        <a14:foregroundMark x1="70625" y1="15625" x2="81563" y2="27187"/>
                        <a14:foregroundMark x1="81563" y1="27187" x2="85000" y2="72813"/>
                        <a14:foregroundMark x1="85000" y1="72813" x2="47188" y2="88125"/>
                        <a14:foregroundMark x1="47188" y1="88125" x2="21563" y2="85938"/>
                        <a14:foregroundMark x1="21563" y1="85938" x2="11875" y2="54688"/>
                        <a14:foregroundMark x1="11875" y1="54688" x2="12188" y2="20938"/>
                        <a14:foregroundMark x1="9375" y1="28438" x2="12500" y2="11875"/>
                        <a14:foregroundMark x1="12500" y1="11875" x2="46563" y2="9063"/>
                        <a14:foregroundMark x1="46563" y1="9063" x2="53438" y2="9063"/>
                        <a14:foregroundMark x1="70000" y1="7813" x2="43438" y2="10000"/>
                        <a14:foregroundMark x1="43438" y1="10000" x2="43438" y2="10000"/>
                        <a14:foregroundMark x1="4688" y1="40313" x2="4375" y2="60313"/>
                        <a14:foregroundMark x1="4375" y1="60313" x2="11875" y2="84375"/>
                        <a14:foregroundMark x1="11875" y1="84375" x2="23750" y2="91875"/>
                        <a14:foregroundMark x1="5313" y1="55937" x2="6875" y2="42500"/>
                        <a14:foregroundMark x1="91563" y1="53125" x2="89063" y2="46563"/>
                      </a14:backgroundRemoval>
                    </a14:imgEffect>
                  </a14:imgLayer>
                </a14:imgProps>
              </a:ext>
              <a:ext uri="{28A0092B-C50C-407E-A947-70E740481C1C}">
                <a14:useLocalDpi xmlns:a14="http://schemas.microsoft.com/office/drawing/2010/main" val="0"/>
              </a:ext>
            </a:extLst>
          </a:blip>
          <a:srcRect/>
          <a:stretch>
            <a:fillRect/>
          </a:stretch>
        </p:blipFill>
        <p:spPr bwMode="auto">
          <a:xfrm>
            <a:off x="5201783" y="5062411"/>
            <a:ext cx="742693" cy="74269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GrabFood - Home | Facebook">
            <a:extLst>
              <a:ext uri="{FF2B5EF4-FFF2-40B4-BE49-F238E27FC236}">
                <a16:creationId xmlns:a16="http://schemas.microsoft.com/office/drawing/2014/main" id="{546E3719-9E4C-F948-9DD9-CC3AD9B9A096}"/>
              </a:ext>
            </a:extLst>
          </p:cNvPr>
          <p:cNvPicPr>
            <a:picLocks noChangeAspect="1" noChangeArrowheads="1"/>
          </p:cNvPicPr>
          <p:nvPr/>
        </p:nvPicPr>
        <p:blipFill>
          <a:blip r:embed="rId21" cstate="email">
            <a:extLst>
              <a:ext uri="{BEBA8EAE-BF5A-486C-A8C5-ECC9F3942E4B}">
                <a14:imgProps xmlns:a14="http://schemas.microsoft.com/office/drawing/2010/main">
                  <a14:imgLayer r:embed="rId22">
                    <a14:imgEffect>
                      <a14:backgroundRemoval t="4000" b="98667" l="1778" r="99556">
                        <a14:foregroundMark x1="22222" y1="25333" x2="77333" y2="35111"/>
                        <a14:foregroundMark x1="77333" y1="35111" x2="79556" y2="71556"/>
                        <a14:foregroundMark x1="79556" y1="71556" x2="48444" y2="83556"/>
                        <a14:foregroundMark x1="48444" y1="83556" x2="20000" y2="60000"/>
                        <a14:foregroundMark x1="20000" y1="60000" x2="15111" y2="36889"/>
                        <a14:foregroundMark x1="26667" y1="15111" x2="56000" y2="9778"/>
                        <a14:foregroundMark x1="68444" y1="11556" x2="86667" y2="26222"/>
                        <a14:foregroundMark x1="86667" y1="26222" x2="95556" y2="43556"/>
                        <a14:foregroundMark x1="95556" y1="51556" x2="79111" y2="83111"/>
                        <a14:foregroundMark x1="79111" y1="83111" x2="58222" y2="91111"/>
                        <a14:foregroundMark x1="43556" y1="94667" x2="12000" y2="59111"/>
                        <a14:foregroundMark x1="4000" y1="60444" x2="1778" y2="46222"/>
                        <a14:foregroundMark x1="13333" y1="41333" x2="73333" y2="42222"/>
                        <a14:foregroundMark x1="67111" y1="25778" x2="37778" y2="42222"/>
                        <a14:foregroundMark x1="37778" y1="42222" x2="37333" y2="42222"/>
                        <a14:foregroundMark x1="25778" y1="27556" x2="25778" y2="46222"/>
                        <a14:foregroundMark x1="34222" y1="4444" x2="51111" y2="4000"/>
                        <a14:foregroundMark x1="65778" y1="40889" x2="38222" y2="38222"/>
                        <a14:foregroundMark x1="38222" y1="38222" x2="27111" y2="60889"/>
                        <a14:foregroundMark x1="27111" y1="60889" x2="48444" y2="72444"/>
                        <a14:foregroundMark x1="48444" y1="72444" x2="73333" y2="63556"/>
                        <a14:foregroundMark x1="73333" y1="63556" x2="74222" y2="60444"/>
                        <a14:foregroundMark x1="68000" y1="36444" x2="37778" y2="46667"/>
                        <a14:foregroundMark x1="37778" y1="46667" x2="39111" y2="46667"/>
                        <a14:foregroundMark x1="41778" y1="61333" x2="47111" y2="68889"/>
                        <a14:foregroundMark x1="56444" y1="60889" x2="50667" y2="64889"/>
                        <a14:foregroundMark x1="61778" y1="62667" x2="52444" y2="57778"/>
                        <a14:foregroundMark x1="63556" y1="71111" x2="56000" y2="73333"/>
                        <a14:foregroundMark x1="38222" y1="61333" x2="33778" y2="59556"/>
                        <a14:foregroundMark x1="19556" y1="52444" x2="25333" y2="56000"/>
                        <a14:foregroundMark x1="80444" y1="54667" x2="82222" y2="65778"/>
                        <a14:foregroundMark x1="77333" y1="33778" x2="80000" y2="48444"/>
                        <a14:foregroundMark x1="81333" y1="38667" x2="78667" y2="41778"/>
                        <a14:foregroundMark x1="75111" y1="50222" x2="69333" y2="46222"/>
                        <a14:foregroundMark x1="67556" y1="25333" x2="72000" y2="32444"/>
                        <a14:foregroundMark x1="59556" y1="37778" x2="53333" y2="36444"/>
                        <a14:foregroundMark x1="54667" y1="47556" x2="53778" y2="44000"/>
                        <a14:foregroundMark x1="40000" y1="34222" x2="46222" y2="38667"/>
                        <a14:foregroundMark x1="45333" y1="30222" x2="47111" y2="35556"/>
                        <a14:foregroundMark x1="33778" y1="38222" x2="30667" y2="39111"/>
                        <a14:foregroundMark x1="28444" y1="49333" x2="18222" y2="40000"/>
                        <a14:foregroundMark x1="19111" y1="33333" x2="25333" y2="29778"/>
                        <a14:foregroundMark x1="31111" y1="28444" x2="34667" y2="36000"/>
                        <a14:foregroundMark x1="58222" y1="98667" x2="43556" y2="98667"/>
                        <a14:foregroundMark x1="98667" y1="48444" x2="99556" y2="49778"/>
                        <a14:foregroundMark x1="66222" y1="47111" x2="63111" y2="45778"/>
                      </a14:backgroundRemoval>
                    </a14:imgEffect>
                  </a14:imgLayer>
                </a14:imgProps>
              </a:ext>
              <a:ext uri="{28A0092B-C50C-407E-A947-70E740481C1C}">
                <a14:useLocalDpi xmlns:a14="http://schemas.microsoft.com/office/drawing/2010/main" val="0"/>
              </a:ext>
            </a:extLst>
          </a:blip>
          <a:srcRect/>
          <a:stretch>
            <a:fillRect/>
          </a:stretch>
        </p:blipFill>
        <p:spPr bwMode="auto">
          <a:xfrm>
            <a:off x="6143320" y="5073310"/>
            <a:ext cx="647125" cy="64712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2" descr="Shopee Logo Transparent Background, Transparent Png Image - PngNice">
            <a:extLst>
              <a:ext uri="{FF2B5EF4-FFF2-40B4-BE49-F238E27FC236}">
                <a16:creationId xmlns:a16="http://schemas.microsoft.com/office/drawing/2014/main" id="{D12AC53F-3939-5A1E-A275-BC0864912F71}"/>
              </a:ext>
            </a:extLst>
          </p:cNvPr>
          <p:cNvPicPr>
            <a:picLocks noChangeAspect="1" noChangeArrowheads="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6075507" y="5735854"/>
            <a:ext cx="836664" cy="83666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26 Tahun Kompas.com, Melihat Harapan">
            <a:extLst>
              <a:ext uri="{FF2B5EF4-FFF2-40B4-BE49-F238E27FC236}">
                <a16:creationId xmlns:a16="http://schemas.microsoft.com/office/drawing/2014/main" id="{D45E784E-81D7-846B-AB4C-ECD951DD1BF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621344" y="5326331"/>
            <a:ext cx="1875494" cy="33306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etikcom">
            <a:extLst>
              <a:ext uri="{FF2B5EF4-FFF2-40B4-BE49-F238E27FC236}">
                <a16:creationId xmlns:a16="http://schemas.microsoft.com/office/drawing/2014/main" id="{070BCC92-9403-9463-3BEE-70FBCC5D64E2}"/>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546925" y="5874504"/>
            <a:ext cx="1968294" cy="37629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0" name="Picture 2" descr="It looks like Netflix just changed its logo | Business Insider India">
            <a:extLst>
              <a:ext uri="{FF2B5EF4-FFF2-40B4-BE49-F238E27FC236}">
                <a16:creationId xmlns:a16="http://schemas.microsoft.com/office/drawing/2014/main" id="{615E4413-1496-DB6F-B2D1-61EF81E1BDD9}"/>
              </a:ext>
            </a:extLst>
          </p:cNvPr>
          <p:cNvPicPr>
            <a:picLocks noChangeAspect="1" noChangeArrowheads="1"/>
          </p:cNvPicPr>
          <p:nvPr/>
        </p:nvPicPr>
        <p:blipFill>
          <a:blip r:embed="rId27" cstate="email">
            <a:extLst>
              <a:ext uri="{28A0092B-C50C-407E-A947-70E740481C1C}">
                <a14:useLocalDpi xmlns:a14="http://schemas.microsoft.com/office/drawing/2010/main" val="0"/>
              </a:ext>
            </a:extLst>
          </a:blip>
          <a:srcRect/>
          <a:stretch>
            <a:fillRect/>
          </a:stretch>
        </p:blipFill>
        <p:spPr bwMode="auto">
          <a:xfrm>
            <a:off x="10782254" y="5135154"/>
            <a:ext cx="1115640" cy="1304063"/>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8" descr="seeklogo.com/images/Y/youtube-icon-logo-521820C...">
            <a:extLst>
              <a:ext uri="{FF2B5EF4-FFF2-40B4-BE49-F238E27FC236}">
                <a16:creationId xmlns:a16="http://schemas.microsoft.com/office/drawing/2014/main" id="{77669D9B-6764-4AE8-E9B0-330E159B0209}"/>
              </a:ext>
            </a:extLst>
          </p:cNvPr>
          <p:cNvPicPr>
            <a:picLocks noChangeAspect="1" noChangeArrowheads="1"/>
          </p:cNvPicPr>
          <p:nvPr/>
        </p:nvPicPr>
        <p:blipFill>
          <a:blip r:embed="rId28" cstate="email">
            <a:extLst>
              <a:ext uri="{28A0092B-C50C-407E-A947-70E740481C1C}">
                <a14:useLocalDpi xmlns:a14="http://schemas.microsoft.com/office/drawing/2010/main" val="0"/>
              </a:ext>
            </a:extLst>
          </a:blip>
          <a:srcRect/>
          <a:stretch>
            <a:fillRect/>
          </a:stretch>
        </p:blipFill>
        <p:spPr bwMode="auto">
          <a:xfrm>
            <a:off x="9789829" y="5041283"/>
            <a:ext cx="674579" cy="46770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Tiktok turun? Masalah saat ini dan pemadaman | Downdetector">
            <a:extLst>
              <a:ext uri="{FF2B5EF4-FFF2-40B4-BE49-F238E27FC236}">
                <a16:creationId xmlns:a16="http://schemas.microsoft.com/office/drawing/2014/main" id="{BDBEBBF8-E22F-6220-5FB1-01A404A8CA5F}"/>
              </a:ext>
            </a:extLst>
          </p:cNvPr>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9801410" y="5602552"/>
            <a:ext cx="836665" cy="83666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slow">
        <p:pull/>
      </p:transition>
    </mc:Choice>
    <mc:Fallback xmlns:a14="http://schemas.microsoft.com/office/drawing/2010/main" xmlns:m="http://schemas.openxmlformats.org/officeDocument/2006/math"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F2A5-232D-98D8-1803-90B9C5C10CD2}"/>
              </a:ext>
            </a:extLst>
          </p:cNvPr>
          <p:cNvSpPr>
            <a:spLocks noGrp="1"/>
          </p:cNvSpPr>
          <p:nvPr>
            <p:ph type="title"/>
          </p:nvPr>
        </p:nvSpPr>
        <p:spPr>
          <a:xfrm>
            <a:off x="1545673" y="128997"/>
            <a:ext cx="9100654" cy="898576"/>
          </a:xfrm>
        </p:spPr>
        <p:txBody>
          <a:bodyPr/>
          <a:lstStyle/>
          <a:p>
            <a:r>
              <a:rPr lang="en-AU" i="1" dirty="0" err="1"/>
              <a:t>Contoh</a:t>
            </a:r>
            <a:r>
              <a:rPr lang="en-AU" i="1" dirty="0"/>
              <a:t> Data Flow CA pada </a:t>
            </a:r>
            <a:r>
              <a:rPr lang="en-AU" i="1" dirty="0" err="1"/>
              <a:t>aplikasi</a:t>
            </a:r>
            <a:r>
              <a:rPr lang="en-AU" i="1" dirty="0"/>
              <a:t> </a:t>
            </a:r>
            <a:r>
              <a:rPr lang="en-AU" i="1" dirty="0" err="1"/>
              <a:t>eReviuLK</a:t>
            </a:r>
            <a:endParaRPr lang="en-AU" dirty="0"/>
          </a:p>
        </p:txBody>
      </p:sp>
      <p:pic>
        <p:nvPicPr>
          <p:cNvPr id="4" name="Picture 3">
            <a:extLst>
              <a:ext uri="{FF2B5EF4-FFF2-40B4-BE49-F238E27FC236}">
                <a16:creationId xmlns:a16="http://schemas.microsoft.com/office/drawing/2014/main" id="{A9B1D0CD-F60F-3E5F-3359-664CBFB8C9AC}"/>
              </a:ext>
            </a:extLst>
          </p:cNvPr>
          <p:cNvPicPr>
            <a:picLocks noChangeAspect="1"/>
          </p:cNvPicPr>
          <p:nvPr/>
        </p:nvPicPr>
        <p:blipFill>
          <a:blip r:embed="rId2"/>
          <a:stretch>
            <a:fillRect/>
          </a:stretch>
        </p:blipFill>
        <p:spPr>
          <a:xfrm>
            <a:off x="269021" y="1105630"/>
            <a:ext cx="8724276" cy="5412010"/>
          </a:xfrm>
          <a:prstGeom prst="rect">
            <a:avLst/>
          </a:prstGeom>
        </p:spPr>
      </p:pic>
      <p:sp>
        <p:nvSpPr>
          <p:cNvPr id="5" name="Content Placeholder 2">
            <a:extLst>
              <a:ext uri="{FF2B5EF4-FFF2-40B4-BE49-F238E27FC236}">
                <a16:creationId xmlns:a16="http://schemas.microsoft.com/office/drawing/2014/main" id="{C8A2F661-3D06-C4D3-6E4C-F7CCAEEC453E}"/>
              </a:ext>
            </a:extLst>
          </p:cNvPr>
          <p:cNvSpPr txBox="1">
            <a:spLocks/>
          </p:cNvSpPr>
          <p:nvPr/>
        </p:nvSpPr>
        <p:spPr>
          <a:xfrm>
            <a:off x="8497229" y="1027574"/>
            <a:ext cx="3547194" cy="499408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10000"/>
              </a:lnSpc>
              <a:spcBef>
                <a:spcPts val="600"/>
              </a:spcBef>
              <a:spcAft>
                <a:spcPts val="0"/>
              </a:spcAft>
              <a:buClr>
                <a:schemeClr val="accent1"/>
              </a:buClr>
              <a:buSzPts val="1800"/>
              <a:buFont typeface="Barlow Light"/>
              <a:buChar char="▸"/>
              <a:defRPr sz="2000" b="0" i="0" u="none" strike="noStrike" cap="none">
                <a:solidFill>
                  <a:schemeClr val="dk1"/>
                </a:solidFill>
                <a:latin typeface="Barlow Light"/>
                <a:ea typeface="Barlow Light"/>
                <a:cs typeface="Barlow Light"/>
                <a:sym typeface="Barlow Light"/>
              </a:defRPr>
            </a:lvl1pPr>
            <a:lvl2pPr marL="914400" marR="0" lvl="1" indent="-342900" algn="l" rtl="0">
              <a:lnSpc>
                <a:spcPct val="110000"/>
              </a:lnSpc>
              <a:spcBef>
                <a:spcPts val="600"/>
              </a:spcBef>
              <a:spcAft>
                <a:spcPts val="0"/>
              </a:spcAft>
              <a:buClr>
                <a:schemeClr val="accent1"/>
              </a:buClr>
              <a:buSzPts val="1800"/>
              <a:buFont typeface="Barlow Light"/>
              <a:buChar char="▹"/>
              <a:defRPr sz="2000" b="0" i="0" u="none" strike="noStrike" cap="none">
                <a:solidFill>
                  <a:schemeClr val="dk1"/>
                </a:solidFill>
                <a:latin typeface="Barlow Light"/>
                <a:ea typeface="Barlow Light"/>
                <a:cs typeface="Barlow Light"/>
                <a:sym typeface="Barlow Light"/>
              </a:defRPr>
            </a:lvl2pPr>
            <a:lvl3pPr marL="1371600" marR="0" lvl="2" indent="-342900" algn="l" rtl="0">
              <a:lnSpc>
                <a:spcPct val="110000"/>
              </a:lnSpc>
              <a:spcBef>
                <a:spcPts val="600"/>
              </a:spcBef>
              <a:spcAft>
                <a:spcPts val="0"/>
              </a:spcAft>
              <a:buClr>
                <a:schemeClr val="accent1"/>
              </a:buClr>
              <a:buSzPts val="1800"/>
              <a:buFont typeface="Barlow Light"/>
              <a:buChar char="▹"/>
              <a:defRPr sz="2000" b="0" i="0" u="none" strike="noStrike" cap="none">
                <a:solidFill>
                  <a:schemeClr val="dk1"/>
                </a:solidFill>
                <a:latin typeface="Barlow Light"/>
                <a:ea typeface="Barlow Light"/>
                <a:cs typeface="Barlow Light"/>
                <a:sym typeface="Barlow Light"/>
              </a:defRPr>
            </a:lvl3pPr>
            <a:lvl4pPr marL="1828800" marR="0" lvl="3" indent="-355600" algn="l" rtl="0">
              <a:lnSpc>
                <a:spcPct val="110000"/>
              </a:lnSpc>
              <a:spcBef>
                <a:spcPts val="600"/>
              </a:spcBef>
              <a:spcAft>
                <a:spcPts val="0"/>
              </a:spcAft>
              <a:buClr>
                <a:schemeClr val="dk1"/>
              </a:buClr>
              <a:buSzPts val="2000"/>
              <a:buFont typeface="Barlow Light"/>
              <a:buChar char="▹"/>
              <a:defRPr sz="2000" b="0" i="0" u="none" strike="noStrike" cap="none">
                <a:solidFill>
                  <a:schemeClr val="dk1"/>
                </a:solidFill>
                <a:latin typeface="Barlow Light"/>
                <a:ea typeface="Barlow Light"/>
                <a:cs typeface="Barlow Light"/>
                <a:sym typeface="Barlow Light"/>
              </a:defRPr>
            </a:lvl4pPr>
            <a:lvl5pPr marL="2286000" marR="0" lvl="4" indent="-355600" algn="l" rtl="0">
              <a:lnSpc>
                <a:spcPct val="110000"/>
              </a:lnSpc>
              <a:spcBef>
                <a:spcPts val="600"/>
              </a:spcBef>
              <a:spcAft>
                <a:spcPts val="0"/>
              </a:spcAft>
              <a:buClr>
                <a:schemeClr val="dk1"/>
              </a:buClr>
              <a:buSzPts val="2000"/>
              <a:buFont typeface="Barlow Light"/>
              <a:buChar char="▹"/>
              <a:defRPr sz="2000" b="0" i="0" u="none" strike="noStrike" cap="none">
                <a:solidFill>
                  <a:schemeClr val="dk1"/>
                </a:solidFill>
                <a:latin typeface="Barlow Light"/>
                <a:ea typeface="Barlow Light"/>
                <a:cs typeface="Barlow Light"/>
                <a:sym typeface="Barlow Light"/>
              </a:defRPr>
            </a:lvl5pPr>
            <a:lvl6pPr marL="2743200" marR="0" lvl="5" indent="-355600" algn="l" rtl="0">
              <a:lnSpc>
                <a:spcPct val="110000"/>
              </a:lnSpc>
              <a:spcBef>
                <a:spcPts val="600"/>
              </a:spcBef>
              <a:spcAft>
                <a:spcPts val="0"/>
              </a:spcAft>
              <a:buClr>
                <a:schemeClr val="dk1"/>
              </a:buClr>
              <a:buSzPts val="2000"/>
              <a:buFont typeface="Barlow Light"/>
              <a:buChar char="▹"/>
              <a:defRPr sz="2000" b="0" i="0" u="none" strike="noStrike" cap="none">
                <a:solidFill>
                  <a:schemeClr val="dk1"/>
                </a:solidFill>
                <a:latin typeface="Barlow Light"/>
                <a:ea typeface="Barlow Light"/>
                <a:cs typeface="Barlow Light"/>
                <a:sym typeface="Barlow Light"/>
              </a:defRPr>
            </a:lvl6pPr>
            <a:lvl7pPr marL="3200400" marR="0" lvl="6" indent="-355600" algn="l" rtl="0">
              <a:lnSpc>
                <a:spcPct val="110000"/>
              </a:lnSpc>
              <a:spcBef>
                <a:spcPts val="600"/>
              </a:spcBef>
              <a:spcAft>
                <a:spcPts val="0"/>
              </a:spcAft>
              <a:buClr>
                <a:schemeClr val="dk1"/>
              </a:buClr>
              <a:buSzPts val="2000"/>
              <a:buFont typeface="Barlow Light"/>
              <a:buChar char="▹"/>
              <a:defRPr sz="2000" b="0" i="0" u="none" strike="noStrike" cap="none">
                <a:solidFill>
                  <a:schemeClr val="dk1"/>
                </a:solidFill>
                <a:latin typeface="Barlow Light"/>
                <a:ea typeface="Barlow Light"/>
                <a:cs typeface="Barlow Light"/>
                <a:sym typeface="Barlow Light"/>
              </a:defRPr>
            </a:lvl7pPr>
            <a:lvl8pPr marL="3657600" marR="0" lvl="7" indent="-355600" algn="l" rtl="0">
              <a:lnSpc>
                <a:spcPct val="110000"/>
              </a:lnSpc>
              <a:spcBef>
                <a:spcPts val="600"/>
              </a:spcBef>
              <a:spcAft>
                <a:spcPts val="0"/>
              </a:spcAft>
              <a:buClr>
                <a:schemeClr val="dk1"/>
              </a:buClr>
              <a:buSzPts val="2000"/>
              <a:buFont typeface="Barlow Light"/>
              <a:buChar char="▹"/>
              <a:defRPr sz="2000" b="0" i="0" u="none" strike="noStrike" cap="none">
                <a:solidFill>
                  <a:schemeClr val="dk1"/>
                </a:solidFill>
                <a:latin typeface="Barlow Light"/>
                <a:ea typeface="Barlow Light"/>
                <a:cs typeface="Barlow Light"/>
                <a:sym typeface="Barlow Light"/>
              </a:defRPr>
            </a:lvl8pPr>
            <a:lvl9pPr marL="4114800" marR="0" lvl="8" indent="-355600" algn="l" rtl="0">
              <a:lnSpc>
                <a:spcPct val="110000"/>
              </a:lnSpc>
              <a:spcBef>
                <a:spcPts val="600"/>
              </a:spcBef>
              <a:spcAft>
                <a:spcPts val="0"/>
              </a:spcAft>
              <a:buClr>
                <a:schemeClr val="dk1"/>
              </a:buClr>
              <a:buSzPts val="2000"/>
              <a:buFont typeface="Barlow Light"/>
              <a:buChar char="▹"/>
              <a:defRPr sz="2000" b="0" i="0" u="none" strike="noStrike" cap="none">
                <a:solidFill>
                  <a:schemeClr val="dk1"/>
                </a:solidFill>
                <a:latin typeface="Barlow Light"/>
                <a:ea typeface="Barlow Light"/>
                <a:cs typeface="Barlow Light"/>
                <a:sym typeface="Barlow Light"/>
              </a:defRPr>
            </a:lvl9pPr>
          </a:lstStyle>
          <a:p>
            <a:pPr marL="361950" marR="0" lvl="0" indent="-247650" algn="l" defTabSz="914400" rtl="0" eaLnBrk="1" fontAlgn="auto" latinLnBrk="0" hangingPunct="1">
              <a:lnSpc>
                <a:spcPct val="110000"/>
              </a:lnSpc>
              <a:spcBef>
                <a:spcPts val="600"/>
              </a:spcBef>
              <a:spcAft>
                <a:spcPts val="0"/>
              </a:spcAft>
              <a:buClr>
                <a:srgbClr val="00B5DD"/>
              </a:buClr>
              <a:buSzPts val="1800"/>
              <a:buFont typeface="+mj-lt"/>
              <a:buAutoNum type="arabicPeriod"/>
              <a:tabLst/>
              <a:defRPr/>
            </a:pPr>
            <a:r>
              <a:rPr kumimoji="0" lang="en-US" sz="1500" b="0" i="0" u="none" strike="noStrike" kern="0" cap="none" spc="0" normalizeH="0" baseline="0" noProof="0" dirty="0" err="1">
                <a:ln>
                  <a:noFill/>
                </a:ln>
                <a:solidFill>
                  <a:srgbClr val="3A3F50"/>
                </a:solidFill>
                <a:effectLst/>
                <a:uLnTx/>
                <a:uFillTx/>
                <a:latin typeface="Barlow Light"/>
                <a:sym typeface="Barlow Light"/>
              </a:rPr>
              <a:t>Itje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mengembangkan</a:t>
            </a:r>
            <a:r>
              <a:rPr kumimoji="0" lang="en-US" sz="1500" b="0" i="0" u="none" strike="noStrike" kern="0" cap="none" spc="0" normalizeH="0" baseline="0" noProof="0" dirty="0">
                <a:ln>
                  <a:noFill/>
                </a:ln>
                <a:solidFill>
                  <a:srgbClr val="3A3F50"/>
                </a:solidFill>
                <a:effectLst/>
                <a:uLnTx/>
                <a:uFillTx/>
                <a:latin typeface="Barlow Light"/>
                <a:sym typeface="Barlow Light"/>
              </a:rPr>
              <a:t> script </a:t>
            </a:r>
            <a:r>
              <a:rPr kumimoji="0" lang="en-US" sz="1500" b="0" i="0" u="none" strike="noStrike" kern="0" cap="none" spc="0" normalizeH="0" baseline="0" noProof="0" dirty="0" err="1">
                <a:ln>
                  <a:noFill/>
                </a:ln>
                <a:solidFill>
                  <a:srgbClr val="3A3F50"/>
                </a:solidFill>
                <a:effectLst/>
                <a:uLnTx/>
                <a:uFillTx/>
                <a:latin typeface="Barlow Light"/>
                <a:sym typeface="Barlow Light"/>
              </a:rPr>
              <a:t>pengujian</a:t>
            </a:r>
            <a:r>
              <a:rPr kumimoji="0" lang="en-US" sz="1500" b="0" i="0" u="none" strike="noStrike" kern="0" cap="none" spc="0" normalizeH="0" baseline="0" noProof="0" dirty="0">
                <a:ln>
                  <a:noFill/>
                </a:ln>
                <a:solidFill>
                  <a:srgbClr val="3A3F50"/>
                </a:solidFill>
                <a:effectLst/>
                <a:uLnTx/>
                <a:uFillTx/>
                <a:latin typeface="Barlow Light"/>
                <a:sym typeface="Barlow Light"/>
              </a:rPr>
              <a:t> dan </a:t>
            </a:r>
            <a:r>
              <a:rPr kumimoji="0" lang="en-US" sz="1500" b="0" i="0" u="none" strike="noStrike" kern="0" cap="none" spc="0" normalizeH="0" baseline="0" noProof="0" dirty="0" err="1">
                <a:ln>
                  <a:noFill/>
                </a:ln>
                <a:solidFill>
                  <a:srgbClr val="3A3F50"/>
                </a:solidFill>
                <a:effectLst/>
                <a:uLnTx/>
                <a:uFillTx/>
                <a:latin typeface="Barlow Light"/>
                <a:sym typeface="Barlow Light"/>
              </a:rPr>
              <a:t>mengirimk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ke</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Pusintek</a:t>
            </a:r>
            <a:endParaRPr kumimoji="0" lang="en-US" sz="1500" b="0" i="0" u="none" strike="noStrike" kern="0" cap="none" spc="0" normalizeH="0" baseline="0" noProof="0" dirty="0">
              <a:ln>
                <a:noFill/>
              </a:ln>
              <a:solidFill>
                <a:srgbClr val="3A3F50"/>
              </a:solidFill>
              <a:effectLst/>
              <a:uLnTx/>
              <a:uFillTx/>
              <a:latin typeface="Barlow Light"/>
              <a:sym typeface="Barlow Light"/>
            </a:endParaRPr>
          </a:p>
          <a:p>
            <a:pPr marL="361950" marR="0" lvl="0" indent="-247650" algn="l" defTabSz="914400" rtl="0" eaLnBrk="1" fontAlgn="auto" latinLnBrk="0" hangingPunct="1">
              <a:lnSpc>
                <a:spcPct val="110000"/>
              </a:lnSpc>
              <a:spcBef>
                <a:spcPts val="600"/>
              </a:spcBef>
              <a:spcAft>
                <a:spcPts val="0"/>
              </a:spcAft>
              <a:buClr>
                <a:srgbClr val="00B5DD"/>
              </a:buClr>
              <a:buSzPts val="1800"/>
              <a:buFont typeface="+mj-lt"/>
              <a:buAutoNum type="arabicPeriod"/>
              <a:tabLst/>
              <a:defRPr/>
            </a:pPr>
            <a:r>
              <a:rPr kumimoji="0" lang="en-US" sz="1500" b="0" i="0" u="none" strike="noStrike" kern="0" cap="none" spc="0" normalizeH="0" baseline="0" noProof="0" dirty="0">
                <a:ln>
                  <a:noFill/>
                </a:ln>
                <a:solidFill>
                  <a:srgbClr val="3A3F50"/>
                </a:solidFill>
                <a:effectLst/>
                <a:uLnTx/>
                <a:uFillTx/>
                <a:latin typeface="Barlow Light"/>
                <a:sym typeface="Barlow Light"/>
              </a:rPr>
              <a:t>Script </a:t>
            </a:r>
            <a:r>
              <a:rPr kumimoji="0" lang="en-US" sz="1500" b="0" i="0" u="none" strike="noStrike" kern="0" cap="none" spc="0" normalizeH="0" baseline="0" noProof="0" dirty="0" err="1">
                <a:ln>
                  <a:noFill/>
                </a:ln>
                <a:solidFill>
                  <a:srgbClr val="3A3F50"/>
                </a:solidFill>
                <a:effectLst/>
                <a:uLnTx/>
                <a:uFillTx/>
                <a:latin typeface="Barlow Light"/>
                <a:sym typeface="Barlow Light"/>
              </a:rPr>
              <a:t>penguji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dijalank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setiap</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hari</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atas</a:t>
            </a:r>
            <a:r>
              <a:rPr kumimoji="0" lang="en-US" sz="1500" b="0" i="0" u="none" strike="noStrike" kern="0" cap="none" spc="0" normalizeH="0" baseline="0" noProof="0" dirty="0">
                <a:ln>
                  <a:noFill/>
                </a:ln>
                <a:solidFill>
                  <a:srgbClr val="3A3F50"/>
                </a:solidFill>
                <a:effectLst/>
                <a:uLnTx/>
                <a:uFillTx/>
                <a:latin typeface="Barlow Light"/>
                <a:sym typeface="Barlow Light"/>
              </a:rPr>
              <a:t> data pada SLDK </a:t>
            </a:r>
            <a:r>
              <a:rPr kumimoji="0" lang="en-US" sz="1500" b="0" i="0" u="none" strike="noStrike" kern="0" cap="none" spc="0" normalizeH="0" baseline="0" noProof="0" dirty="0" err="1">
                <a:ln>
                  <a:noFill/>
                </a:ln>
                <a:solidFill>
                  <a:srgbClr val="3A3F50"/>
                </a:solidFill>
                <a:effectLst/>
                <a:uLnTx/>
                <a:uFillTx/>
                <a:latin typeface="Barlow Light"/>
                <a:sym typeface="Barlow Light"/>
              </a:rPr>
              <a:t>kemudi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hasil</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penguji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dikirimk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ke</a:t>
            </a:r>
            <a:r>
              <a:rPr kumimoji="0" lang="en-US" sz="1500" b="0" i="0" u="none" strike="noStrike" kern="0" cap="none" spc="0" normalizeH="0" baseline="0" noProof="0" dirty="0">
                <a:ln>
                  <a:noFill/>
                </a:ln>
                <a:solidFill>
                  <a:srgbClr val="3A3F50"/>
                </a:solidFill>
                <a:effectLst/>
                <a:uLnTx/>
                <a:uFillTx/>
                <a:latin typeface="Barlow Light"/>
                <a:sym typeface="Barlow Light"/>
              </a:rPr>
              <a:t> database </a:t>
            </a:r>
            <a:r>
              <a:rPr kumimoji="0" lang="en-US" sz="1500" b="0" i="0" u="none" strike="noStrike" kern="0" cap="none" spc="0" normalizeH="0" baseline="0" noProof="0" dirty="0" err="1">
                <a:ln>
                  <a:noFill/>
                </a:ln>
                <a:solidFill>
                  <a:srgbClr val="3A3F50"/>
                </a:solidFill>
                <a:effectLst/>
                <a:uLnTx/>
                <a:uFillTx/>
                <a:latin typeface="Barlow Light"/>
                <a:sym typeface="Barlow Light"/>
              </a:rPr>
              <a:t>aplikasi</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eReviuLK</a:t>
            </a:r>
            <a:endParaRPr kumimoji="0" lang="en-US" sz="1500" b="0" i="0" u="none" strike="noStrike" kern="0" cap="none" spc="0" normalizeH="0" baseline="0" noProof="0" dirty="0">
              <a:ln>
                <a:noFill/>
              </a:ln>
              <a:solidFill>
                <a:srgbClr val="3A3F50"/>
              </a:solidFill>
              <a:effectLst/>
              <a:uLnTx/>
              <a:uFillTx/>
              <a:latin typeface="Barlow Light"/>
              <a:sym typeface="Barlow Light"/>
            </a:endParaRPr>
          </a:p>
          <a:p>
            <a:pPr marL="361950" marR="0" lvl="0" indent="-247650" algn="l" defTabSz="914400" rtl="0" eaLnBrk="1" fontAlgn="auto" latinLnBrk="0" hangingPunct="1">
              <a:lnSpc>
                <a:spcPct val="110000"/>
              </a:lnSpc>
              <a:spcBef>
                <a:spcPts val="600"/>
              </a:spcBef>
              <a:spcAft>
                <a:spcPts val="0"/>
              </a:spcAft>
              <a:buClr>
                <a:srgbClr val="00B5DD"/>
              </a:buClr>
              <a:buSzPts val="1800"/>
              <a:buFont typeface="+mj-lt"/>
              <a:buAutoNum type="arabicPeriod"/>
              <a:tabLst/>
              <a:defRPr/>
            </a:pPr>
            <a:r>
              <a:rPr kumimoji="0" lang="en-US" sz="1500" b="0" i="0" u="none" strike="noStrike" kern="0" cap="none" spc="0" normalizeH="0" baseline="0" noProof="0" dirty="0" err="1">
                <a:ln>
                  <a:noFill/>
                </a:ln>
                <a:solidFill>
                  <a:srgbClr val="3A3F50"/>
                </a:solidFill>
                <a:effectLst/>
                <a:uLnTx/>
                <a:uFillTx/>
                <a:latin typeface="Barlow Light"/>
                <a:sym typeface="Barlow Light"/>
              </a:rPr>
              <a:t>Itje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mengakses</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hasil</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penguji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anomali</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melalui</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aplikasi</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eReviu</a:t>
            </a:r>
            <a:r>
              <a:rPr kumimoji="0" lang="en-US" sz="1500" b="0" i="0" u="none" strike="noStrike" kern="0" cap="none" spc="0" normalizeH="0" baseline="0" noProof="0" dirty="0">
                <a:ln>
                  <a:noFill/>
                </a:ln>
                <a:solidFill>
                  <a:srgbClr val="3A3F50"/>
                </a:solidFill>
                <a:effectLst/>
                <a:uLnTx/>
                <a:uFillTx/>
                <a:latin typeface="Barlow Light"/>
                <a:sym typeface="Barlow Light"/>
              </a:rPr>
              <a:t> LK </a:t>
            </a:r>
            <a:r>
              <a:rPr kumimoji="0" lang="en-US" sz="1500" b="0" i="0" u="none" strike="noStrike" kern="0" cap="none" spc="0" normalizeH="0" baseline="0" noProof="0" dirty="0" err="1">
                <a:ln>
                  <a:noFill/>
                </a:ln>
                <a:solidFill>
                  <a:srgbClr val="3A3F50"/>
                </a:solidFill>
                <a:effectLst/>
                <a:uLnTx/>
                <a:uFillTx/>
                <a:latin typeface="Barlow Light"/>
                <a:sym typeface="Barlow Light"/>
              </a:rPr>
              <a:t>untuk</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melakuk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analisis</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lebih</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lanjut</a:t>
            </a:r>
            <a:endParaRPr kumimoji="0" lang="en-US" sz="1500" b="0" i="0" u="none" strike="noStrike" kern="0" cap="none" spc="0" normalizeH="0" baseline="0" noProof="0" dirty="0">
              <a:ln>
                <a:noFill/>
              </a:ln>
              <a:solidFill>
                <a:srgbClr val="3A3F50"/>
              </a:solidFill>
              <a:effectLst/>
              <a:uLnTx/>
              <a:uFillTx/>
              <a:latin typeface="Barlow Light"/>
              <a:sym typeface="Barlow Light"/>
            </a:endParaRPr>
          </a:p>
          <a:p>
            <a:pPr marL="361950" marR="0" lvl="0" indent="-247650" algn="l" defTabSz="914400" rtl="0" eaLnBrk="1" fontAlgn="auto" latinLnBrk="0" hangingPunct="1">
              <a:lnSpc>
                <a:spcPct val="110000"/>
              </a:lnSpc>
              <a:spcBef>
                <a:spcPts val="600"/>
              </a:spcBef>
              <a:spcAft>
                <a:spcPts val="0"/>
              </a:spcAft>
              <a:buClr>
                <a:srgbClr val="00B5DD"/>
              </a:buClr>
              <a:buSzPts val="1800"/>
              <a:buFont typeface="+mj-lt"/>
              <a:buAutoNum type="arabicPeriod"/>
              <a:tabLst/>
              <a:defRPr/>
            </a:pPr>
            <a:r>
              <a:rPr kumimoji="0" lang="en-US" sz="1500" b="0" i="0" u="none" strike="noStrike" kern="0" cap="none" spc="0" normalizeH="0" baseline="0" noProof="0" dirty="0" err="1">
                <a:ln>
                  <a:noFill/>
                </a:ln>
                <a:solidFill>
                  <a:srgbClr val="3A3F50"/>
                </a:solidFill>
                <a:effectLst/>
                <a:uLnTx/>
                <a:uFillTx/>
                <a:latin typeface="Barlow Light"/>
                <a:sym typeface="Barlow Light"/>
              </a:rPr>
              <a:t>Itje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menyampaik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atau</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mengkonfirmasi</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hasil</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analisis</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kepada</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Satker</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terkait</a:t>
            </a:r>
            <a:r>
              <a:rPr kumimoji="0" lang="en-US" sz="1500" b="0" i="0" u="none" strike="noStrike" kern="0" cap="none" spc="0" normalizeH="0" baseline="0" noProof="0" dirty="0">
                <a:ln>
                  <a:noFill/>
                </a:ln>
                <a:solidFill>
                  <a:srgbClr val="3A3F50"/>
                </a:solidFill>
                <a:effectLst/>
                <a:uLnTx/>
                <a:uFillTx/>
                <a:latin typeface="Barlow Light"/>
                <a:sym typeface="Barlow Light"/>
              </a:rPr>
              <a:t>.</a:t>
            </a:r>
          </a:p>
          <a:p>
            <a:pPr marL="361950" marR="0" lvl="0" indent="-247650" algn="l" defTabSz="914400" rtl="0" eaLnBrk="1" fontAlgn="auto" latinLnBrk="0" hangingPunct="1">
              <a:lnSpc>
                <a:spcPct val="110000"/>
              </a:lnSpc>
              <a:spcBef>
                <a:spcPts val="600"/>
              </a:spcBef>
              <a:spcAft>
                <a:spcPts val="0"/>
              </a:spcAft>
              <a:buClr>
                <a:srgbClr val="00B5DD"/>
              </a:buClr>
              <a:buSzPts val="1800"/>
              <a:buFont typeface="+mj-lt"/>
              <a:buAutoNum type="arabicPeriod"/>
              <a:tabLst/>
              <a:defRPr/>
            </a:pPr>
            <a:r>
              <a:rPr kumimoji="0" lang="en-US" sz="1500" b="0" i="0" u="none" strike="noStrike" kern="0" cap="none" spc="0" normalizeH="0" baseline="0" noProof="0" dirty="0" err="1">
                <a:ln>
                  <a:noFill/>
                </a:ln>
                <a:solidFill>
                  <a:srgbClr val="3A3F50"/>
                </a:solidFill>
                <a:effectLst/>
                <a:uLnTx/>
                <a:uFillTx/>
                <a:latin typeface="Barlow Light"/>
                <a:sym typeface="Barlow Light"/>
              </a:rPr>
              <a:t>Tidak</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ada</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pengaliran</a:t>
            </a:r>
            <a:r>
              <a:rPr kumimoji="0" lang="en-US" sz="1500" b="0" i="0" u="none" strike="noStrike" kern="0" cap="none" spc="0" normalizeH="0" baseline="0" noProof="0" dirty="0">
                <a:ln>
                  <a:noFill/>
                </a:ln>
                <a:solidFill>
                  <a:srgbClr val="3A3F50"/>
                </a:solidFill>
                <a:effectLst/>
                <a:uLnTx/>
                <a:uFillTx/>
                <a:latin typeface="Barlow Light"/>
                <a:sym typeface="Barlow Light"/>
              </a:rPr>
              <a:t> data </a:t>
            </a:r>
            <a:r>
              <a:rPr kumimoji="0" lang="en-US" sz="1500" b="0" i="0" u="none" strike="noStrike" kern="0" cap="none" spc="0" normalizeH="0" baseline="0" noProof="0" dirty="0" err="1">
                <a:ln>
                  <a:noFill/>
                </a:ln>
                <a:solidFill>
                  <a:srgbClr val="3A3F50"/>
                </a:solidFill>
                <a:effectLst/>
                <a:uLnTx/>
                <a:uFillTx/>
                <a:latin typeface="Barlow Light"/>
                <a:sym typeface="Barlow Light"/>
              </a:rPr>
              <a:t>eReko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langsung</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dari</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DJPB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ke</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Itjen</a:t>
            </a:r>
            <a:r>
              <a:rPr kumimoji="0" lang="en-US" sz="1500" b="0" i="0" u="none" strike="noStrike" kern="0" cap="none" spc="0" normalizeH="0" baseline="0" noProof="0" dirty="0">
                <a:ln>
                  <a:noFill/>
                </a:ln>
                <a:solidFill>
                  <a:srgbClr val="3A3F50"/>
                </a:solidFill>
                <a:effectLst/>
                <a:uLnTx/>
                <a:uFillTx/>
                <a:latin typeface="Barlow Light"/>
                <a:sym typeface="Barlow Light"/>
              </a:rPr>
              <a:t> data </a:t>
            </a:r>
            <a:r>
              <a:rPr kumimoji="0" lang="en-US" sz="1500" b="0" i="0" u="none" strike="noStrike" kern="0" cap="none" spc="0" normalizeH="0" baseline="0" noProof="0" dirty="0" err="1">
                <a:ln>
                  <a:noFill/>
                </a:ln>
                <a:solidFill>
                  <a:srgbClr val="3A3F50"/>
                </a:solidFill>
                <a:effectLst/>
                <a:uLnTx/>
                <a:uFillTx/>
                <a:latin typeface="Barlow Light"/>
                <a:sym typeface="Barlow Light"/>
              </a:rPr>
              <a:t>dialirk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langsung</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ke</a:t>
            </a:r>
            <a:r>
              <a:rPr kumimoji="0" lang="en-US" sz="1500" b="0" i="0" u="none" strike="noStrike" kern="0" cap="none" spc="0" normalizeH="0" baseline="0" noProof="0" dirty="0">
                <a:ln>
                  <a:noFill/>
                </a:ln>
                <a:solidFill>
                  <a:srgbClr val="3A3F50"/>
                </a:solidFill>
                <a:effectLst/>
                <a:uLnTx/>
                <a:uFillTx/>
                <a:latin typeface="Barlow Light"/>
                <a:sym typeface="Barlow Light"/>
              </a:rPr>
              <a:t> SLDK</a:t>
            </a:r>
          </a:p>
          <a:p>
            <a:pPr marL="361950" marR="0" lvl="0" indent="-247650" algn="l" defTabSz="914400" rtl="0" eaLnBrk="1" fontAlgn="auto" latinLnBrk="0" hangingPunct="1">
              <a:lnSpc>
                <a:spcPct val="110000"/>
              </a:lnSpc>
              <a:spcBef>
                <a:spcPts val="600"/>
              </a:spcBef>
              <a:spcAft>
                <a:spcPts val="0"/>
              </a:spcAft>
              <a:buClr>
                <a:srgbClr val="00B5DD"/>
              </a:buClr>
              <a:buSzPts val="1800"/>
              <a:buFont typeface="+mj-lt"/>
              <a:buAutoNum type="arabicPeriod"/>
              <a:tabLst/>
              <a:defRPr/>
            </a:pPr>
            <a:r>
              <a:rPr kumimoji="0" lang="en-US" sz="1500" b="0" i="0" u="none" strike="noStrike" kern="0" cap="none" spc="0" normalizeH="0" baseline="0" noProof="0" dirty="0" err="1">
                <a:ln>
                  <a:noFill/>
                </a:ln>
                <a:solidFill>
                  <a:srgbClr val="3A3F50"/>
                </a:solidFill>
                <a:effectLst/>
                <a:uLnTx/>
                <a:uFillTx/>
                <a:latin typeface="Barlow Light"/>
                <a:sym typeface="Barlow Light"/>
              </a:rPr>
              <a:t>Dikembangkan</a:t>
            </a:r>
            <a:r>
              <a:rPr kumimoji="0" lang="en-US" sz="1500" b="0" i="0" u="none" strike="noStrike" kern="0" cap="none" spc="0" normalizeH="0" baseline="0" noProof="0" dirty="0">
                <a:ln>
                  <a:noFill/>
                </a:ln>
                <a:solidFill>
                  <a:srgbClr val="3A3F50"/>
                </a:solidFill>
                <a:effectLst/>
                <a:uLnTx/>
                <a:uFillTx/>
                <a:latin typeface="Barlow Light"/>
                <a:sym typeface="Barlow Light"/>
              </a:rPr>
              <a:t> API </a:t>
            </a:r>
            <a:r>
              <a:rPr kumimoji="0" lang="en-US" sz="1500" b="0" i="0" u="none" strike="noStrike" kern="0" cap="none" spc="0" normalizeH="0" baseline="0" noProof="0" dirty="0" err="1">
                <a:ln>
                  <a:noFill/>
                </a:ln>
                <a:solidFill>
                  <a:srgbClr val="3A3F50"/>
                </a:solidFill>
                <a:effectLst/>
                <a:uLnTx/>
                <a:uFillTx/>
                <a:latin typeface="Barlow Light"/>
                <a:sym typeface="Barlow Light"/>
              </a:rPr>
              <a:t>untuk</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pemanfaat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pengujian</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eReviuLK</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kepada</a:t>
            </a:r>
            <a:r>
              <a:rPr kumimoji="0" lang="en-US" sz="1500" b="0" i="0" u="none" strike="noStrike" kern="0" cap="none" spc="0" normalizeH="0" baseline="0" noProof="0" dirty="0">
                <a:ln>
                  <a:noFill/>
                </a:ln>
                <a:solidFill>
                  <a:srgbClr val="3A3F50"/>
                </a:solidFill>
                <a:effectLst/>
                <a:uLnTx/>
                <a:uFillTx/>
                <a:latin typeface="Barlow Light"/>
                <a:sym typeface="Barlow Light"/>
              </a:rPr>
              <a:t> </a:t>
            </a:r>
            <a:r>
              <a:rPr kumimoji="0" lang="en-US" sz="1500" b="0" i="0" u="none" strike="noStrike" kern="0" cap="none" spc="0" normalizeH="0" baseline="0" noProof="0" dirty="0" err="1">
                <a:ln>
                  <a:noFill/>
                </a:ln>
                <a:solidFill>
                  <a:srgbClr val="3A3F50"/>
                </a:solidFill>
                <a:effectLst/>
                <a:uLnTx/>
                <a:uFillTx/>
                <a:latin typeface="Barlow Light"/>
                <a:sym typeface="Barlow Light"/>
              </a:rPr>
              <a:t>satker</a:t>
            </a:r>
            <a:r>
              <a:rPr kumimoji="0" lang="en-US" sz="1500" b="0" i="0" u="none" strike="noStrike" kern="0" cap="none" spc="0" normalizeH="0" baseline="0" noProof="0" dirty="0">
                <a:ln>
                  <a:noFill/>
                </a:ln>
                <a:solidFill>
                  <a:srgbClr val="3A3F50"/>
                </a:solidFill>
                <a:effectLst/>
                <a:uLnTx/>
                <a:uFillTx/>
                <a:latin typeface="Barlow Light"/>
                <a:sym typeface="Barlow Light"/>
              </a:rPr>
              <a:t> lain</a:t>
            </a:r>
            <a:endParaRPr kumimoji="0" lang="en-ID" sz="1500" b="0" i="0" u="none" strike="noStrike" kern="0" cap="none" spc="0" normalizeH="0" baseline="0" noProof="0" dirty="0">
              <a:ln>
                <a:noFill/>
              </a:ln>
              <a:solidFill>
                <a:srgbClr val="3A3F50"/>
              </a:solidFill>
              <a:effectLst/>
              <a:uLnTx/>
              <a:uFillTx/>
              <a:latin typeface="Barlow Light"/>
              <a:sym typeface="Barlow Light"/>
            </a:endParaRPr>
          </a:p>
        </p:txBody>
      </p:sp>
    </p:spTree>
    <p:extLst>
      <p:ext uri="{BB962C8B-B14F-4D97-AF65-F5344CB8AC3E}">
        <p14:creationId xmlns:p14="http://schemas.microsoft.com/office/powerpoint/2010/main" val="400976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A1A0F4-A345-4B79-ACA5-05FCEB0F04D9}"/>
              </a:ext>
            </a:extLst>
          </p:cNvPr>
          <p:cNvSpPr/>
          <p:nvPr/>
        </p:nvSpPr>
        <p:spPr>
          <a:xfrm>
            <a:off x="1206631" y="1676064"/>
            <a:ext cx="4726233" cy="4420468"/>
          </a:xfrm>
          <a:prstGeom prst="rect">
            <a:avLst/>
          </a:prstGeom>
          <a:solidFill>
            <a:srgbClr val="003465">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 Placeholder 6">
            <a:extLst>
              <a:ext uri="{FF2B5EF4-FFF2-40B4-BE49-F238E27FC236}">
                <a16:creationId xmlns:a16="http://schemas.microsoft.com/office/drawing/2014/main" id="{D9B690EC-2FEE-4316-A8F2-7726F49B6465}"/>
              </a:ext>
            </a:extLst>
          </p:cNvPr>
          <p:cNvSpPr>
            <a:spLocks noGrp="1"/>
          </p:cNvSpPr>
          <p:nvPr>
            <p:ph type="body" idx="3"/>
          </p:nvPr>
        </p:nvSpPr>
        <p:spPr>
          <a:xfrm>
            <a:off x="6321315" y="2556260"/>
            <a:ext cx="5183188" cy="2660073"/>
          </a:xfrm>
        </p:spPr>
        <p:txBody>
          <a:bodyPr>
            <a:normAutofit/>
          </a:bodyPr>
          <a:lstStyle/>
          <a:p>
            <a:r>
              <a:rPr lang="en-US" sz="4000" dirty="0"/>
              <a:t>Project Data Analytic</a:t>
            </a:r>
          </a:p>
        </p:txBody>
      </p:sp>
      <p:pic>
        <p:nvPicPr>
          <p:cNvPr id="9" name="Picture Placeholder 5">
            <a:extLst>
              <a:ext uri="{FF2B5EF4-FFF2-40B4-BE49-F238E27FC236}">
                <a16:creationId xmlns:a16="http://schemas.microsoft.com/office/drawing/2014/main" id="{A477ADE3-EB05-481F-8D6B-6A70718BB778}"/>
              </a:ext>
            </a:extLst>
          </p:cNvPr>
          <p:cNvPicPr>
            <a:picLocks noChangeAspect="1"/>
          </p:cNvPicPr>
          <p:nvPr/>
        </p:nvPicPr>
        <p:blipFill>
          <a:blip r:embed="rId2">
            <a:extLst>
              <a:ext uri="{BEBA8EAE-BF5A-486C-A8C5-ECC9F3942E4B}">
                <a14:imgProps xmlns:a14="http://schemas.microsoft.com/office/drawing/2010/main">
                  <a14:imgLayer r:embed="rId3">
                    <a14:imgEffect>
                      <a14:saturation sat="92000"/>
                    </a14:imgEffect>
                  </a14:imgLayer>
                </a14:imgProps>
              </a:ext>
            </a:extLst>
          </a:blip>
          <a:srcRect t="18408" b="18408"/>
          <a:stretch>
            <a:fillRect/>
          </a:stretch>
        </p:blipFill>
        <p:spPr>
          <a:xfrm>
            <a:off x="0" y="1496836"/>
            <a:ext cx="4572000" cy="4778923"/>
          </a:xfrm>
          <a:prstGeom prst="rect">
            <a:avLst/>
          </a:prstGeom>
        </p:spPr>
      </p:pic>
    </p:spTree>
    <p:extLst>
      <p:ext uri="{BB962C8B-B14F-4D97-AF65-F5344CB8AC3E}">
        <p14:creationId xmlns:p14="http://schemas.microsoft.com/office/powerpoint/2010/main" val="10052321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err="1"/>
              <a:t>Gambaran</a:t>
            </a:r>
            <a:r>
              <a:rPr lang="en-US" dirty="0"/>
              <a:t> </a:t>
            </a:r>
            <a:r>
              <a:rPr lang="en-US" dirty="0" err="1"/>
              <a:t>Umum</a:t>
            </a:r>
            <a:r>
              <a:rPr lang="en-US" dirty="0"/>
              <a:t> DA </a:t>
            </a:r>
            <a:r>
              <a:rPr lang="en-US" dirty="0" err="1"/>
              <a:t>Inspektorat</a:t>
            </a:r>
            <a:r>
              <a:rPr lang="en-US" dirty="0"/>
              <a:t> </a:t>
            </a:r>
            <a:r>
              <a:rPr lang="en-US" dirty="0" err="1"/>
              <a:t>Jenderal</a:t>
            </a:r>
            <a:endParaRPr lang="en-US" dirty="0"/>
          </a:p>
        </p:txBody>
      </p:sp>
      <p:pic>
        <p:nvPicPr>
          <p:cNvPr id="2" name="Picture 1">
            <a:extLst>
              <a:ext uri="{FF2B5EF4-FFF2-40B4-BE49-F238E27FC236}">
                <a16:creationId xmlns:a16="http://schemas.microsoft.com/office/drawing/2014/main" id="{820F3D19-59F5-4111-B9DF-DA957FD0473B}"/>
              </a:ext>
            </a:extLst>
          </p:cNvPr>
          <p:cNvPicPr>
            <a:picLocks noChangeAspect="1"/>
          </p:cNvPicPr>
          <p:nvPr/>
        </p:nvPicPr>
        <p:blipFill>
          <a:blip r:embed="rId2"/>
          <a:stretch>
            <a:fillRect/>
          </a:stretch>
        </p:blipFill>
        <p:spPr>
          <a:xfrm>
            <a:off x="23857" y="797629"/>
            <a:ext cx="12144285" cy="5688061"/>
          </a:xfrm>
          <a:prstGeom prst="rect">
            <a:avLst/>
          </a:prstGeom>
        </p:spPr>
      </p:pic>
    </p:spTree>
    <p:extLst>
      <p:ext uri="{BB962C8B-B14F-4D97-AF65-F5344CB8AC3E}">
        <p14:creationId xmlns:p14="http://schemas.microsoft.com/office/powerpoint/2010/main" val="5792913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C17F9-6E96-CCF5-80F3-2486790A8C73}"/>
              </a:ext>
            </a:extLst>
          </p:cNvPr>
          <p:cNvSpPr>
            <a:spLocks noGrp="1"/>
          </p:cNvSpPr>
          <p:nvPr>
            <p:ph type="title"/>
          </p:nvPr>
        </p:nvSpPr>
        <p:spPr>
          <a:xfrm>
            <a:off x="1597835" y="76159"/>
            <a:ext cx="9100654" cy="898576"/>
          </a:xfrm>
        </p:spPr>
        <p:txBody>
          <a:bodyPr/>
          <a:lstStyle/>
          <a:p>
            <a:r>
              <a:rPr lang="en-AU" dirty="0"/>
              <a:t>Gambaran </a:t>
            </a:r>
            <a:r>
              <a:rPr lang="en-AU" dirty="0" err="1"/>
              <a:t>Umum</a:t>
            </a:r>
            <a:r>
              <a:rPr lang="en-AU" dirty="0"/>
              <a:t> </a:t>
            </a:r>
            <a:r>
              <a:rPr lang="en-AU" dirty="0" err="1"/>
              <a:t>Analisis</a:t>
            </a:r>
            <a:r>
              <a:rPr lang="en-AU" dirty="0"/>
              <a:t> Data </a:t>
            </a:r>
            <a:r>
              <a:rPr lang="en-AU" dirty="0" err="1"/>
              <a:t>Lainnya</a:t>
            </a:r>
            <a:endParaRPr lang="en-AU" dirty="0"/>
          </a:p>
        </p:txBody>
      </p:sp>
      <p:grpSp>
        <p:nvGrpSpPr>
          <p:cNvPr id="15" name="Group 14">
            <a:extLst>
              <a:ext uri="{FF2B5EF4-FFF2-40B4-BE49-F238E27FC236}">
                <a16:creationId xmlns:a16="http://schemas.microsoft.com/office/drawing/2014/main" id="{733694B7-0629-A2D8-DA2D-6A1E240FEAA2}"/>
              </a:ext>
            </a:extLst>
          </p:cNvPr>
          <p:cNvGrpSpPr/>
          <p:nvPr/>
        </p:nvGrpSpPr>
        <p:grpSpPr>
          <a:xfrm>
            <a:off x="750848" y="864219"/>
            <a:ext cx="10305535" cy="6112878"/>
            <a:chOff x="815546" y="745122"/>
            <a:chExt cx="10305535" cy="6112878"/>
          </a:xfrm>
        </p:grpSpPr>
        <p:graphicFrame>
          <p:nvGraphicFramePr>
            <p:cNvPr id="16" name="Diagram 15">
              <a:extLst>
                <a:ext uri="{FF2B5EF4-FFF2-40B4-BE49-F238E27FC236}">
                  <a16:creationId xmlns:a16="http://schemas.microsoft.com/office/drawing/2014/main" id="{C70E9D5F-E65A-5236-C96D-25286C930CD3}"/>
                </a:ext>
              </a:extLst>
            </p:cNvPr>
            <p:cNvGraphicFramePr/>
            <p:nvPr/>
          </p:nvGraphicFramePr>
          <p:xfrm>
            <a:off x="815546" y="828819"/>
            <a:ext cx="10305535" cy="60291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7" name="Group 16">
              <a:extLst>
                <a:ext uri="{FF2B5EF4-FFF2-40B4-BE49-F238E27FC236}">
                  <a16:creationId xmlns:a16="http://schemas.microsoft.com/office/drawing/2014/main" id="{8DA5BB3A-4604-0071-A161-18D8A2DBE1B9}"/>
                </a:ext>
              </a:extLst>
            </p:cNvPr>
            <p:cNvGrpSpPr/>
            <p:nvPr/>
          </p:nvGrpSpPr>
          <p:grpSpPr>
            <a:xfrm>
              <a:off x="815546" y="745122"/>
              <a:ext cx="10305535" cy="5440084"/>
              <a:chOff x="815546" y="745122"/>
              <a:chExt cx="10305535" cy="5440084"/>
            </a:xfrm>
          </p:grpSpPr>
          <p:grpSp>
            <p:nvGrpSpPr>
              <p:cNvPr id="18" name="Group 17">
                <a:extLst>
                  <a:ext uri="{FF2B5EF4-FFF2-40B4-BE49-F238E27FC236}">
                    <a16:creationId xmlns:a16="http://schemas.microsoft.com/office/drawing/2014/main" id="{8C126AB8-7822-A2CD-F5B2-424CDABEE470}"/>
                  </a:ext>
                </a:extLst>
              </p:cNvPr>
              <p:cNvGrpSpPr/>
              <p:nvPr/>
            </p:nvGrpSpPr>
            <p:grpSpPr>
              <a:xfrm>
                <a:off x="5361127" y="745122"/>
                <a:ext cx="1066800" cy="1578221"/>
                <a:chOff x="5830688" y="1041686"/>
                <a:chExt cx="1066800" cy="1578221"/>
              </a:xfrm>
            </p:grpSpPr>
            <p:pic>
              <p:nvPicPr>
                <p:cNvPr id="22" name="Picture 21">
                  <a:extLst>
                    <a:ext uri="{FF2B5EF4-FFF2-40B4-BE49-F238E27FC236}">
                      <a16:creationId xmlns:a16="http://schemas.microsoft.com/office/drawing/2014/main" id="{63498E85-F0FA-7A44-58BF-A0B7C8B456C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56906" y="1165961"/>
                  <a:ext cx="614363" cy="614363"/>
                </a:xfrm>
                <a:prstGeom prst="rect">
                  <a:avLst/>
                </a:prstGeom>
              </p:spPr>
            </p:pic>
            <p:grpSp>
              <p:nvGrpSpPr>
                <p:cNvPr id="23" name="Group 22">
                  <a:extLst>
                    <a:ext uri="{FF2B5EF4-FFF2-40B4-BE49-F238E27FC236}">
                      <a16:creationId xmlns:a16="http://schemas.microsoft.com/office/drawing/2014/main" id="{0289203C-B812-4EB4-3728-02F81DE82B6A}"/>
                    </a:ext>
                  </a:extLst>
                </p:cNvPr>
                <p:cNvGrpSpPr/>
                <p:nvPr/>
              </p:nvGrpSpPr>
              <p:grpSpPr>
                <a:xfrm>
                  <a:off x="5830688" y="1041686"/>
                  <a:ext cx="1066800" cy="1578221"/>
                  <a:chOff x="5830688" y="1054043"/>
                  <a:chExt cx="1066800" cy="1578221"/>
                </a:xfrm>
              </p:grpSpPr>
              <p:sp>
                <p:nvSpPr>
                  <p:cNvPr id="24" name="Oval 23">
                    <a:extLst>
                      <a:ext uri="{FF2B5EF4-FFF2-40B4-BE49-F238E27FC236}">
                        <a16:creationId xmlns:a16="http://schemas.microsoft.com/office/drawing/2014/main" id="{0785FCCC-4FAF-9673-E9EF-AE64EC0CD03D}"/>
                      </a:ext>
                    </a:extLst>
                  </p:cNvPr>
                  <p:cNvSpPr/>
                  <p:nvPr/>
                </p:nvSpPr>
                <p:spPr>
                  <a:xfrm>
                    <a:off x="5830688" y="1054043"/>
                    <a:ext cx="1066800" cy="990600"/>
                  </a:xfrm>
                  <a:prstGeom prst="ellipse">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400" dirty="0">
                      <a:solidFill>
                        <a:schemeClr val="tx1"/>
                      </a:solidFill>
                      <a:latin typeface="Agency FB" pitchFamily="34" charset="0"/>
                    </a:endParaRPr>
                  </a:p>
                </p:txBody>
              </p:sp>
              <p:sp>
                <p:nvSpPr>
                  <p:cNvPr id="25" name="Down Arrow 5">
                    <a:extLst>
                      <a:ext uri="{FF2B5EF4-FFF2-40B4-BE49-F238E27FC236}">
                        <a16:creationId xmlns:a16="http://schemas.microsoft.com/office/drawing/2014/main" id="{14867112-EC27-14CF-76F2-38A00974CFE7}"/>
                      </a:ext>
                    </a:extLst>
                  </p:cNvPr>
                  <p:cNvSpPr/>
                  <p:nvPr/>
                </p:nvSpPr>
                <p:spPr>
                  <a:xfrm>
                    <a:off x="6211687" y="2136965"/>
                    <a:ext cx="304799" cy="495299"/>
                  </a:xfrm>
                  <a:prstGeom prst="downArrow">
                    <a:avLst/>
                  </a:prstGeom>
                  <a:solidFill>
                    <a:schemeClr val="bg2">
                      <a:lumMod val="50000"/>
                    </a:schemeClr>
                  </a:solidFill>
                  <a:ln>
                    <a:noFill/>
                  </a:ln>
                  <a:effectLst>
                    <a:glow rad="63500">
                      <a:schemeClr val="accent2">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sp>
            <p:nvSpPr>
              <p:cNvPr id="19" name="Right Arrow 7">
                <a:extLst>
                  <a:ext uri="{FF2B5EF4-FFF2-40B4-BE49-F238E27FC236}">
                    <a16:creationId xmlns:a16="http://schemas.microsoft.com/office/drawing/2014/main" id="{F599B8B7-6CF9-DE88-AEB1-9AEBA8998122}"/>
                  </a:ext>
                </a:extLst>
              </p:cNvPr>
              <p:cNvSpPr/>
              <p:nvPr/>
            </p:nvSpPr>
            <p:spPr>
              <a:xfrm>
                <a:off x="815546" y="5603387"/>
                <a:ext cx="3200400" cy="581819"/>
              </a:xfrm>
              <a:prstGeom prst="rightArrow">
                <a:avLst/>
              </a:prstGeom>
              <a:solidFill>
                <a:srgbClr val="FFC000"/>
              </a:solidFill>
              <a:ln>
                <a:noFill/>
              </a:ln>
              <a:effectLst>
                <a:glow rad="63500">
                  <a:schemeClr val="accent2">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dirty="0">
                    <a:latin typeface="Agency FB" panose="020B0503020202020204" pitchFamily="34" charset="0"/>
                  </a:rPr>
                  <a:t>Watchdog</a:t>
                </a:r>
              </a:p>
            </p:txBody>
          </p:sp>
          <p:sp>
            <p:nvSpPr>
              <p:cNvPr id="20" name="Right Arrow 30">
                <a:extLst>
                  <a:ext uri="{FF2B5EF4-FFF2-40B4-BE49-F238E27FC236}">
                    <a16:creationId xmlns:a16="http://schemas.microsoft.com/office/drawing/2014/main" id="{03E52024-6090-021B-1F00-035FE7468791}"/>
                  </a:ext>
                </a:extLst>
              </p:cNvPr>
              <p:cNvSpPr/>
              <p:nvPr/>
            </p:nvSpPr>
            <p:spPr>
              <a:xfrm>
                <a:off x="4327641" y="5615097"/>
                <a:ext cx="3333547" cy="558403"/>
              </a:xfrm>
              <a:prstGeom prst="rightArrow">
                <a:avLst/>
              </a:prstGeom>
              <a:solidFill>
                <a:srgbClr val="23E148"/>
              </a:solidFill>
              <a:ln>
                <a:noFill/>
              </a:ln>
              <a:effectLst>
                <a:glow rad="63500">
                  <a:schemeClr val="accent2">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dirty="0" err="1">
                    <a:latin typeface="Agency FB" panose="020B0503020202020204" pitchFamily="34" charset="0"/>
                  </a:rPr>
                  <a:t>Katalisator</a:t>
                </a:r>
                <a:endParaRPr lang="en-US" sz="2000" b="1" dirty="0">
                  <a:latin typeface="Agency FB" panose="020B0503020202020204" pitchFamily="34" charset="0"/>
                </a:endParaRPr>
              </a:p>
            </p:txBody>
          </p:sp>
          <p:sp>
            <p:nvSpPr>
              <p:cNvPr id="21" name="Right Arrow 38">
                <a:extLst>
                  <a:ext uri="{FF2B5EF4-FFF2-40B4-BE49-F238E27FC236}">
                    <a16:creationId xmlns:a16="http://schemas.microsoft.com/office/drawing/2014/main" id="{BD5DF6AB-839D-20A8-BE8F-8B3C9723D987}"/>
                  </a:ext>
                </a:extLst>
              </p:cNvPr>
              <p:cNvSpPr/>
              <p:nvPr/>
            </p:nvSpPr>
            <p:spPr>
              <a:xfrm>
                <a:off x="7972883" y="5615096"/>
                <a:ext cx="3148198" cy="558403"/>
              </a:xfrm>
              <a:prstGeom prst="rightArrow">
                <a:avLst/>
              </a:prstGeom>
              <a:solidFill>
                <a:srgbClr val="4472C4"/>
              </a:solidFill>
              <a:ln>
                <a:noFill/>
              </a:ln>
              <a:effectLst>
                <a:glow rad="63500">
                  <a:schemeClr val="accent2">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latin typeface="Agency FB" panose="020B0503020202020204" pitchFamily="34" charset="0"/>
                  </a:rPr>
                  <a:t>Strategic </a:t>
                </a:r>
                <a:r>
                  <a:rPr lang="en-US" b="1" dirty="0" err="1">
                    <a:latin typeface="Agency FB" panose="020B0503020202020204" pitchFamily="34" charset="0"/>
                  </a:rPr>
                  <a:t>Bussiness</a:t>
                </a:r>
                <a:r>
                  <a:rPr lang="en-US" b="1" dirty="0">
                    <a:latin typeface="Agency FB" panose="020B0503020202020204" pitchFamily="34" charset="0"/>
                  </a:rPr>
                  <a:t> Partner</a:t>
                </a:r>
              </a:p>
            </p:txBody>
          </p:sp>
        </p:grpSp>
      </p:grpSp>
    </p:spTree>
    <p:extLst>
      <p:ext uri="{BB962C8B-B14F-4D97-AF65-F5344CB8AC3E}">
        <p14:creationId xmlns:p14="http://schemas.microsoft.com/office/powerpoint/2010/main" val="42380038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94F5FB7E-7FAF-424B-BA04-46500D3FE833}"/>
              </a:ext>
            </a:extLst>
          </p:cNvPr>
          <p:cNvGraphicFramePr>
            <a:graphicFrameLocks noGrp="1"/>
          </p:cNvGraphicFramePr>
          <p:nvPr>
            <p:ph idx="1"/>
            <p:extLst>
              <p:ext uri="{D42A27DB-BD31-4B8C-83A1-F6EECF244321}">
                <p14:modId xmlns:p14="http://schemas.microsoft.com/office/powerpoint/2010/main" val="1854754841"/>
              </p:ext>
            </p:extLst>
          </p:nvPr>
        </p:nvGraphicFramePr>
        <p:xfrm>
          <a:off x="218712" y="975732"/>
          <a:ext cx="11353799" cy="53235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9F25F7CD-B653-4FA9-A9C8-AD0FB8DD9D33}"/>
              </a:ext>
            </a:extLst>
          </p:cNvPr>
          <p:cNvSpPr txBox="1">
            <a:spLocks/>
          </p:cNvSpPr>
          <p:nvPr/>
        </p:nvSpPr>
        <p:spPr>
          <a:xfrm>
            <a:off x="218712" y="228600"/>
            <a:ext cx="10515600" cy="566822"/>
          </a:xfrm>
          <a:prstGeom prst="rect">
            <a:avLst/>
          </a:prstGeom>
          <a:noFill/>
          <a:ln>
            <a:noFill/>
          </a:ln>
        </p:spPr>
        <p:txBody>
          <a:bodyPr spcFirstLastPara="1" wrap="square" lIns="91425" tIns="45700" rIns="91425" bIns="45700" anchor="ctr" anchorCtr="0">
            <a:normAutofit fontScale="92500" lnSpcReduction="20000"/>
          </a:bodyPr>
          <a:lstStyle>
            <a:defPPr marR="0" lvl="0" algn="l" rtl="0">
              <a:lnSpc>
                <a:spcPct val="100000"/>
              </a:lnSpc>
              <a:spcBef>
                <a:spcPts val="0"/>
              </a:spcBef>
              <a:spcAft>
                <a:spcPts val="0"/>
              </a:spcAft>
              <a:defRPr/>
            </a:defPPr>
            <a:lvl1pPr algn="ctr">
              <a:lnSpc>
                <a:spcPct val="90000"/>
              </a:lnSpc>
              <a:buClr>
                <a:schemeClr val="dk1"/>
              </a:buClr>
              <a:buSzPts val="3000"/>
              <a:buFont typeface="Roboto"/>
              <a:buNone/>
              <a:defRPr sz="3000" b="1">
                <a:solidFill>
                  <a:schemeClr val="dk1"/>
                </a:solidFill>
                <a:latin typeface="Roboto"/>
                <a:ea typeface="Roboto"/>
                <a:cs typeface="Roboto"/>
              </a:defRPr>
            </a:lvl1pPr>
            <a:lvl2pPr>
              <a:buSzPts val="1400"/>
              <a:buNone/>
              <a:defRPr sz="1800"/>
            </a:lvl2pPr>
            <a:lvl3pPr>
              <a:buSzPts val="1400"/>
              <a:buNone/>
              <a:defRPr sz="1800"/>
            </a:lvl3pPr>
            <a:lvl4pPr>
              <a:buSzPts val="1400"/>
              <a:buNone/>
              <a:defRPr sz="1800"/>
            </a:lvl4pPr>
            <a:lvl5pPr>
              <a:buSzPts val="1400"/>
              <a:buNone/>
              <a:defRPr sz="1800"/>
            </a:lvl5pPr>
            <a:lvl6pPr>
              <a:buSzPts val="1400"/>
              <a:buNone/>
              <a:defRPr sz="1800"/>
            </a:lvl6pPr>
            <a:lvl7pPr>
              <a:buSzPts val="1400"/>
              <a:buNone/>
              <a:defRPr sz="1800"/>
            </a:lvl7pPr>
            <a:lvl8pPr>
              <a:buSzPts val="1400"/>
              <a:buNone/>
              <a:defRPr sz="1800"/>
            </a:lvl8pPr>
            <a:lvl9pPr>
              <a:buSzPts val="1400"/>
              <a:buNone/>
              <a:defRPr sz="1800"/>
            </a:lvl9pPr>
          </a:lstStyle>
          <a:p>
            <a:r>
              <a:rPr lang="en-AU" dirty="0"/>
              <a:t>Machine Learning in Auditing</a:t>
            </a:r>
          </a:p>
        </p:txBody>
      </p:sp>
    </p:spTree>
    <p:extLst>
      <p:ext uri="{BB962C8B-B14F-4D97-AF65-F5344CB8AC3E}">
        <p14:creationId xmlns:p14="http://schemas.microsoft.com/office/powerpoint/2010/main" val="27979678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8799B385-D1B1-471B-BB64-FFBEEA2B0AB9}"/>
              </a:ext>
            </a:extLst>
          </p:cNvPr>
          <p:cNvSpPr/>
          <p:nvPr/>
        </p:nvSpPr>
        <p:spPr>
          <a:xfrm flipV="1">
            <a:off x="-2208" y="2704887"/>
            <a:ext cx="4868453" cy="3715164"/>
          </a:xfrm>
          <a:prstGeom prst="rect">
            <a:avLst/>
          </a:prstGeom>
          <a:solidFill>
            <a:srgbClr val="FBE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Rectangle 58">
            <a:extLst>
              <a:ext uri="{FF2B5EF4-FFF2-40B4-BE49-F238E27FC236}">
                <a16:creationId xmlns:a16="http://schemas.microsoft.com/office/drawing/2014/main" id="{308544C9-13DC-4ACB-B0EF-F44E498ED584}"/>
              </a:ext>
            </a:extLst>
          </p:cNvPr>
          <p:cNvSpPr/>
          <p:nvPr/>
        </p:nvSpPr>
        <p:spPr>
          <a:xfrm>
            <a:off x="0" y="770021"/>
            <a:ext cx="12191999" cy="1963640"/>
          </a:xfrm>
          <a:prstGeom prst="rect">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b="0" dirty="0"/>
              <a:t>ALUR </a:t>
            </a:r>
            <a:r>
              <a:rPr lang="en-US" dirty="0"/>
              <a:t>PELAKSANAAN </a:t>
            </a:r>
            <a:r>
              <a:rPr lang="en-US" b="0" dirty="0"/>
              <a:t>DATA SCIENCE PROJECT</a:t>
            </a:r>
          </a:p>
        </p:txBody>
      </p:sp>
      <p:sp>
        <p:nvSpPr>
          <p:cNvPr id="4" name="Rectangle 3">
            <a:extLst>
              <a:ext uri="{FF2B5EF4-FFF2-40B4-BE49-F238E27FC236}">
                <a16:creationId xmlns:a16="http://schemas.microsoft.com/office/drawing/2014/main" id="{E3D3668F-3D9C-40E2-B199-DAEC41DFE78D}"/>
              </a:ext>
            </a:extLst>
          </p:cNvPr>
          <p:cNvSpPr/>
          <p:nvPr/>
        </p:nvSpPr>
        <p:spPr>
          <a:xfrm flipV="1">
            <a:off x="4866245" y="2704884"/>
            <a:ext cx="7325753" cy="371600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TextBox 27">
            <a:extLst>
              <a:ext uri="{FF2B5EF4-FFF2-40B4-BE49-F238E27FC236}">
                <a16:creationId xmlns:a16="http://schemas.microsoft.com/office/drawing/2014/main" id="{102C5D08-C071-45DE-B3DD-061EA9BF9BC7}"/>
              </a:ext>
            </a:extLst>
          </p:cNvPr>
          <p:cNvSpPr txBox="1"/>
          <p:nvPr/>
        </p:nvSpPr>
        <p:spPr>
          <a:xfrm>
            <a:off x="7194651" y="787877"/>
            <a:ext cx="4863252" cy="307777"/>
          </a:xfrm>
          <a:prstGeom prst="rect">
            <a:avLst/>
          </a:prstGeom>
          <a:noFill/>
        </p:spPr>
        <p:txBody>
          <a:bodyPr wrap="square" rtlCol="0">
            <a:spAutoFit/>
          </a:bodyPr>
          <a:lstStyle/>
          <a:p>
            <a:pPr algn="r"/>
            <a:r>
              <a:rPr lang="en-US" b="1" dirty="0" err="1"/>
              <a:t>Perencanaan</a:t>
            </a:r>
            <a:r>
              <a:rPr lang="en-US" b="1" dirty="0"/>
              <a:t> </a:t>
            </a:r>
            <a:r>
              <a:rPr lang="en-US" b="1" dirty="0" err="1"/>
              <a:t>Analisis</a:t>
            </a:r>
            <a:endParaRPr lang="en-AU" dirty="0"/>
          </a:p>
        </p:txBody>
      </p:sp>
      <p:sp>
        <p:nvSpPr>
          <p:cNvPr id="29" name="TextBox 28">
            <a:extLst>
              <a:ext uri="{FF2B5EF4-FFF2-40B4-BE49-F238E27FC236}">
                <a16:creationId xmlns:a16="http://schemas.microsoft.com/office/drawing/2014/main" id="{8828D7F0-4E82-481F-8A93-575CBDD8D737}"/>
              </a:ext>
            </a:extLst>
          </p:cNvPr>
          <p:cNvSpPr txBox="1"/>
          <p:nvPr/>
        </p:nvSpPr>
        <p:spPr>
          <a:xfrm>
            <a:off x="96357" y="2730485"/>
            <a:ext cx="1352595" cy="307777"/>
          </a:xfrm>
          <a:prstGeom prst="rect">
            <a:avLst/>
          </a:prstGeom>
          <a:noFill/>
        </p:spPr>
        <p:txBody>
          <a:bodyPr wrap="square" rtlCol="0">
            <a:spAutoFit/>
          </a:bodyPr>
          <a:lstStyle/>
          <a:p>
            <a:r>
              <a:rPr lang="en-US" b="1" dirty="0"/>
              <a:t>Deployment</a:t>
            </a:r>
            <a:endParaRPr lang="en-AU" b="1" dirty="0"/>
          </a:p>
        </p:txBody>
      </p:sp>
      <p:grpSp>
        <p:nvGrpSpPr>
          <p:cNvPr id="7" name="Group 6">
            <a:extLst>
              <a:ext uri="{FF2B5EF4-FFF2-40B4-BE49-F238E27FC236}">
                <a16:creationId xmlns:a16="http://schemas.microsoft.com/office/drawing/2014/main" id="{8878FE52-732D-4071-B71A-6B2B11E7E56D}"/>
              </a:ext>
            </a:extLst>
          </p:cNvPr>
          <p:cNvGrpSpPr/>
          <p:nvPr/>
        </p:nvGrpSpPr>
        <p:grpSpPr>
          <a:xfrm>
            <a:off x="3139092" y="1755043"/>
            <a:ext cx="5652062" cy="4101728"/>
            <a:chOff x="2961577" y="1575356"/>
            <a:chExt cx="6030686" cy="4376498"/>
          </a:xfrm>
        </p:grpSpPr>
        <p:grpSp>
          <p:nvGrpSpPr>
            <p:cNvPr id="9" name="Group 8">
              <a:extLst>
                <a:ext uri="{FF2B5EF4-FFF2-40B4-BE49-F238E27FC236}">
                  <a16:creationId xmlns:a16="http://schemas.microsoft.com/office/drawing/2014/main" id="{1CCB8F2F-3A92-4798-975E-2BFB7D6FFA1C}"/>
                </a:ext>
              </a:extLst>
            </p:cNvPr>
            <p:cNvGrpSpPr/>
            <p:nvPr/>
          </p:nvGrpSpPr>
          <p:grpSpPr>
            <a:xfrm>
              <a:off x="2961577" y="1575356"/>
              <a:ext cx="6030686" cy="4376498"/>
              <a:chOff x="2705099" y="1296576"/>
              <a:chExt cx="6030686" cy="4376498"/>
            </a:xfrm>
          </p:grpSpPr>
          <p:sp>
            <p:nvSpPr>
              <p:cNvPr id="14" name="Rectangle 13">
                <a:extLst>
                  <a:ext uri="{FF2B5EF4-FFF2-40B4-BE49-F238E27FC236}">
                    <a16:creationId xmlns:a16="http://schemas.microsoft.com/office/drawing/2014/main" id="{8BC5F2DA-1D45-4670-ACA9-498D5F842BA2}"/>
                  </a:ext>
                </a:extLst>
              </p:cNvPr>
              <p:cNvSpPr/>
              <p:nvPr/>
            </p:nvSpPr>
            <p:spPr>
              <a:xfrm>
                <a:off x="6270172" y="1296576"/>
                <a:ext cx="1643742" cy="729341"/>
              </a:xfrm>
              <a:prstGeom prst="rect">
                <a:avLst/>
              </a:prstGeom>
              <a:solidFill>
                <a:srgbClr val="BDD7EE"/>
              </a:solid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Data Understanding</a:t>
                </a:r>
                <a:endParaRPr lang="en-AU" dirty="0"/>
              </a:p>
            </p:txBody>
          </p:sp>
          <p:sp>
            <p:nvSpPr>
              <p:cNvPr id="15" name="Rectangle 14">
                <a:extLst>
                  <a:ext uri="{FF2B5EF4-FFF2-40B4-BE49-F238E27FC236}">
                    <a16:creationId xmlns:a16="http://schemas.microsoft.com/office/drawing/2014/main" id="{CAA819F4-3311-4DEC-B64A-77C62C80F38F}"/>
                  </a:ext>
                </a:extLst>
              </p:cNvPr>
              <p:cNvSpPr/>
              <p:nvPr/>
            </p:nvSpPr>
            <p:spPr>
              <a:xfrm>
                <a:off x="3595008" y="1296577"/>
                <a:ext cx="1643742" cy="729341"/>
              </a:xfrm>
              <a:prstGeom prst="rect">
                <a:avLst/>
              </a:prstGeom>
              <a:solidFill>
                <a:srgbClr val="BDD7EE"/>
              </a:solid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Business Understanding (Risk / Control)</a:t>
                </a:r>
                <a:endParaRPr lang="en-AU" dirty="0"/>
              </a:p>
            </p:txBody>
          </p:sp>
          <p:sp>
            <p:nvSpPr>
              <p:cNvPr id="17" name="Rectangle 16">
                <a:extLst>
                  <a:ext uri="{FF2B5EF4-FFF2-40B4-BE49-F238E27FC236}">
                    <a16:creationId xmlns:a16="http://schemas.microsoft.com/office/drawing/2014/main" id="{F54A8285-0C6A-4B2F-8282-357AF31A44A6}"/>
                  </a:ext>
                </a:extLst>
              </p:cNvPr>
              <p:cNvSpPr/>
              <p:nvPr/>
            </p:nvSpPr>
            <p:spPr>
              <a:xfrm>
                <a:off x="7092043" y="3701147"/>
                <a:ext cx="1643742" cy="729341"/>
              </a:xfrm>
              <a:prstGeom prst="rect">
                <a:avLst/>
              </a:prstGeom>
              <a:solidFill>
                <a:srgbClr val="BDD7EE"/>
              </a:solid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Modeling / </a:t>
                </a:r>
                <a:r>
                  <a:rPr lang="en-US" dirty="0" err="1"/>
                  <a:t>Analisis</a:t>
                </a:r>
                <a:endParaRPr lang="en-AU" dirty="0"/>
              </a:p>
            </p:txBody>
          </p:sp>
          <p:sp>
            <p:nvSpPr>
              <p:cNvPr id="18" name="Rectangle 17">
                <a:extLst>
                  <a:ext uri="{FF2B5EF4-FFF2-40B4-BE49-F238E27FC236}">
                    <a16:creationId xmlns:a16="http://schemas.microsoft.com/office/drawing/2014/main" id="{30BB4157-75DF-4425-A350-A8AA78FEF32F}"/>
                  </a:ext>
                </a:extLst>
              </p:cNvPr>
              <p:cNvSpPr/>
              <p:nvPr/>
            </p:nvSpPr>
            <p:spPr>
              <a:xfrm>
                <a:off x="4898571" y="4943733"/>
                <a:ext cx="1643742" cy="729341"/>
              </a:xfrm>
              <a:prstGeom prst="rect">
                <a:avLst/>
              </a:prstGeom>
              <a:solidFill>
                <a:srgbClr val="BDD7EE"/>
              </a:solid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err="1"/>
                  <a:t>Evaluasi</a:t>
                </a:r>
                <a:endParaRPr lang="en-AU" dirty="0"/>
              </a:p>
            </p:txBody>
          </p:sp>
          <p:sp>
            <p:nvSpPr>
              <p:cNvPr id="19" name="Rectangle 18">
                <a:extLst>
                  <a:ext uri="{FF2B5EF4-FFF2-40B4-BE49-F238E27FC236}">
                    <a16:creationId xmlns:a16="http://schemas.microsoft.com/office/drawing/2014/main" id="{DB828CDF-0D8F-4EDA-803F-A3278C4C05B6}"/>
                  </a:ext>
                </a:extLst>
              </p:cNvPr>
              <p:cNvSpPr/>
              <p:nvPr/>
            </p:nvSpPr>
            <p:spPr>
              <a:xfrm>
                <a:off x="2705099" y="3506549"/>
                <a:ext cx="1643742" cy="729341"/>
              </a:xfrm>
              <a:prstGeom prst="rect">
                <a:avLst/>
              </a:prstGeom>
              <a:solidFill>
                <a:srgbClr val="BDD7EE"/>
              </a:solid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Deployment / </a:t>
                </a:r>
                <a:r>
                  <a:rPr lang="en-US" dirty="0" err="1"/>
                  <a:t>Pelaporan</a:t>
                </a:r>
                <a:endParaRPr lang="en-AU" dirty="0"/>
              </a:p>
            </p:txBody>
          </p:sp>
          <p:grpSp>
            <p:nvGrpSpPr>
              <p:cNvPr id="20" name="Group 19">
                <a:extLst>
                  <a:ext uri="{FF2B5EF4-FFF2-40B4-BE49-F238E27FC236}">
                    <a16:creationId xmlns:a16="http://schemas.microsoft.com/office/drawing/2014/main" id="{90C414B5-6F1F-4984-B84F-8C36DE9C41C5}"/>
                  </a:ext>
                </a:extLst>
              </p:cNvPr>
              <p:cNvGrpSpPr/>
              <p:nvPr/>
            </p:nvGrpSpPr>
            <p:grpSpPr>
              <a:xfrm>
                <a:off x="5238750" y="2373873"/>
                <a:ext cx="963385" cy="1373333"/>
                <a:chOff x="4757058" y="2917959"/>
                <a:chExt cx="963385" cy="1373333"/>
              </a:xfrm>
            </p:grpSpPr>
            <p:sp>
              <p:nvSpPr>
                <p:cNvPr id="26" name="Flowchart: Magnetic Disk 25">
                  <a:extLst>
                    <a:ext uri="{FF2B5EF4-FFF2-40B4-BE49-F238E27FC236}">
                      <a16:creationId xmlns:a16="http://schemas.microsoft.com/office/drawing/2014/main" id="{61B3937E-8959-4AC8-AA6F-9EE346BCAA26}"/>
                    </a:ext>
                  </a:extLst>
                </p:cNvPr>
                <p:cNvSpPr/>
                <p:nvPr/>
              </p:nvSpPr>
              <p:spPr>
                <a:xfrm>
                  <a:off x="4757058" y="2917959"/>
                  <a:ext cx="963385" cy="1110344"/>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TextBox 26">
                  <a:extLst>
                    <a:ext uri="{FF2B5EF4-FFF2-40B4-BE49-F238E27FC236}">
                      <a16:creationId xmlns:a16="http://schemas.microsoft.com/office/drawing/2014/main" id="{0C23CD12-C30A-4715-8221-95D3303E8399}"/>
                    </a:ext>
                  </a:extLst>
                </p:cNvPr>
                <p:cNvSpPr txBox="1"/>
                <p:nvPr/>
              </p:nvSpPr>
              <p:spPr>
                <a:xfrm>
                  <a:off x="4928473" y="3974397"/>
                  <a:ext cx="579653" cy="316895"/>
                </a:xfrm>
                <a:prstGeom prst="rect">
                  <a:avLst/>
                </a:prstGeom>
                <a:noFill/>
              </p:spPr>
              <p:txBody>
                <a:bodyPr wrap="none" rtlCol="0">
                  <a:spAutoFit/>
                </a:bodyPr>
                <a:lstStyle/>
                <a:p>
                  <a:r>
                    <a:rPr lang="en-US" dirty="0"/>
                    <a:t>Data</a:t>
                  </a:r>
                  <a:endParaRPr lang="en-AU" dirty="0"/>
                </a:p>
              </p:txBody>
            </p:sp>
          </p:grpSp>
          <p:cxnSp>
            <p:nvCxnSpPr>
              <p:cNvPr id="21" name="Straight Arrow Connector 20">
                <a:extLst>
                  <a:ext uri="{FF2B5EF4-FFF2-40B4-BE49-F238E27FC236}">
                    <a16:creationId xmlns:a16="http://schemas.microsoft.com/office/drawing/2014/main" id="{D46D4B32-4FC4-410E-A8D7-1AB552E241BD}"/>
                  </a:ext>
                </a:extLst>
              </p:cNvPr>
              <p:cNvCxnSpPr>
                <a:stCxn id="15" idx="3"/>
                <a:endCxn id="14" idx="1"/>
              </p:cNvCxnSpPr>
              <p:nvPr/>
            </p:nvCxnSpPr>
            <p:spPr>
              <a:xfrm flipV="1">
                <a:off x="5238750" y="1661247"/>
                <a:ext cx="1031422" cy="1"/>
              </a:xfrm>
              <a:prstGeom prst="straightConnector1">
                <a:avLst/>
              </a:prstGeom>
              <a:ln w="50800">
                <a:solidFill>
                  <a:srgbClr val="FF0000"/>
                </a:solidFill>
                <a:headEnd type="triangle"/>
                <a:tailEnd type="triangle"/>
              </a:ln>
            </p:spPr>
            <p:style>
              <a:lnRef idx="3">
                <a:schemeClr val="accent2"/>
              </a:lnRef>
              <a:fillRef idx="0">
                <a:schemeClr val="accent2"/>
              </a:fillRef>
              <a:effectRef idx="2">
                <a:schemeClr val="accent2"/>
              </a:effectRef>
              <a:fontRef idx="minor">
                <a:schemeClr val="tx1"/>
              </a:fontRef>
            </p:style>
          </p:cxnSp>
          <p:cxnSp>
            <p:nvCxnSpPr>
              <p:cNvPr id="22" name="Straight Arrow Connector 21">
                <a:extLst>
                  <a:ext uri="{FF2B5EF4-FFF2-40B4-BE49-F238E27FC236}">
                    <a16:creationId xmlns:a16="http://schemas.microsoft.com/office/drawing/2014/main" id="{7B19BDA3-2D31-4572-8FBD-5137659F2D52}"/>
                  </a:ext>
                </a:extLst>
              </p:cNvPr>
              <p:cNvCxnSpPr>
                <a:cxnSpLocks/>
              </p:cNvCxnSpPr>
              <p:nvPr/>
            </p:nvCxnSpPr>
            <p:spPr>
              <a:xfrm>
                <a:off x="7683190" y="2025917"/>
                <a:ext cx="0" cy="412816"/>
              </a:xfrm>
              <a:prstGeom prst="straightConnector1">
                <a:avLst/>
              </a:prstGeom>
              <a:ln w="50800">
                <a:solidFill>
                  <a:srgbClr val="FF0000"/>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3" name="Straight Arrow Connector 22">
                <a:extLst>
                  <a:ext uri="{FF2B5EF4-FFF2-40B4-BE49-F238E27FC236}">
                    <a16:creationId xmlns:a16="http://schemas.microsoft.com/office/drawing/2014/main" id="{20112BF7-068D-41D0-888C-96318F616D69}"/>
                  </a:ext>
                </a:extLst>
              </p:cNvPr>
              <p:cNvCxnSpPr>
                <a:cxnSpLocks/>
                <a:stCxn id="16" idx="2"/>
                <a:endCxn id="17" idx="0"/>
              </p:cNvCxnSpPr>
              <p:nvPr/>
            </p:nvCxnSpPr>
            <p:spPr>
              <a:xfrm>
                <a:off x="7913914" y="3168074"/>
                <a:ext cx="0" cy="533073"/>
              </a:xfrm>
              <a:prstGeom prst="straightConnector1">
                <a:avLst/>
              </a:prstGeom>
              <a:ln w="50800">
                <a:solidFill>
                  <a:srgbClr val="FF0000"/>
                </a:solidFill>
                <a:headEnd type="triangle"/>
                <a:tailEnd type="triangle"/>
              </a:ln>
            </p:spPr>
            <p:style>
              <a:lnRef idx="3">
                <a:schemeClr val="accent2"/>
              </a:lnRef>
              <a:fillRef idx="0">
                <a:schemeClr val="accent2"/>
              </a:fillRef>
              <a:effectRef idx="2">
                <a:schemeClr val="accent2"/>
              </a:effectRef>
              <a:fontRef idx="minor">
                <a:schemeClr val="tx1"/>
              </a:fontRef>
            </p:style>
          </p:cxnSp>
          <p:cxnSp>
            <p:nvCxnSpPr>
              <p:cNvPr id="24" name="Straight Arrow Connector 27">
                <a:extLst>
                  <a:ext uri="{FF2B5EF4-FFF2-40B4-BE49-F238E27FC236}">
                    <a16:creationId xmlns:a16="http://schemas.microsoft.com/office/drawing/2014/main" id="{8EEA1CEF-A912-4CF3-9BA3-C13689D33E55}"/>
                  </a:ext>
                </a:extLst>
              </p:cNvPr>
              <p:cNvCxnSpPr>
                <a:cxnSpLocks/>
                <a:stCxn id="17" idx="2"/>
                <a:endCxn id="18" idx="3"/>
              </p:cNvCxnSpPr>
              <p:nvPr/>
            </p:nvCxnSpPr>
            <p:spPr>
              <a:xfrm rot="5400000">
                <a:off x="6789156" y="4183646"/>
                <a:ext cx="877916" cy="1371601"/>
              </a:xfrm>
              <a:prstGeom prst="bentConnector2">
                <a:avLst/>
              </a:prstGeom>
              <a:ln w="50800">
                <a:solidFill>
                  <a:srgbClr val="FF0000"/>
                </a:solidFill>
                <a:headEnd type="triangle"/>
                <a:tailEnd type="triangle"/>
              </a:ln>
            </p:spPr>
            <p:style>
              <a:lnRef idx="3">
                <a:schemeClr val="accent2"/>
              </a:lnRef>
              <a:fillRef idx="0">
                <a:schemeClr val="accent2"/>
              </a:fillRef>
              <a:effectRef idx="2">
                <a:schemeClr val="accent2"/>
              </a:effectRef>
              <a:fontRef idx="minor">
                <a:schemeClr val="tx1"/>
              </a:fontRef>
            </p:style>
          </p:cxnSp>
          <p:cxnSp>
            <p:nvCxnSpPr>
              <p:cNvPr id="25" name="Straight Arrow Connector 27">
                <a:extLst>
                  <a:ext uri="{FF2B5EF4-FFF2-40B4-BE49-F238E27FC236}">
                    <a16:creationId xmlns:a16="http://schemas.microsoft.com/office/drawing/2014/main" id="{9A5BBC2D-2A6B-411A-AAD6-EDB418375AA2}"/>
                  </a:ext>
                </a:extLst>
              </p:cNvPr>
              <p:cNvCxnSpPr>
                <a:cxnSpLocks/>
                <a:stCxn id="18" idx="1"/>
                <a:endCxn id="19" idx="2"/>
              </p:cNvCxnSpPr>
              <p:nvPr/>
            </p:nvCxnSpPr>
            <p:spPr>
              <a:xfrm rot="10800000">
                <a:off x="3526972" y="4235890"/>
                <a:ext cx="1371600" cy="1072514"/>
              </a:xfrm>
              <a:prstGeom prst="bentConnector2">
                <a:avLst/>
              </a:prstGeom>
              <a:ln w="50800">
                <a:solidFill>
                  <a:srgbClr val="FF0000"/>
                </a:solidFill>
                <a:headEnd type="none"/>
                <a:tailEnd type="triangle"/>
              </a:ln>
            </p:spPr>
            <p:style>
              <a:lnRef idx="3">
                <a:schemeClr val="accent2"/>
              </a:lnRef>
              <a:fillRef idx="0">
                <a:schemeClr val="accent2"/>
              </a:fillRef>
              <a:effectRef idx="2">
                <a:schemeClr val="accent2"/>
              </a:effectRef>
              <a:fontRef idx="minor">
                <a:schemeClr val="tx1"/>
              </a:fontRef>
            </p:style>
          </p:cxnSp>
          <p:sp>
            <p:nvSpPr>
              <p:cNvPr id="16" name="Rectangle 15">
                <a:extLst>
                  <a:ext uri="{FF2B5EF4-FFF2-40B4-BE49-F238E27FC236}">
                    <a16:creationId xmlns:a16="http://schemas.microsoft.com/office/drawing/2014/main" id="{397623B8-6F8F-4B05-B441-DA496AC2C16F}"/>
                  </a:ext>
                </a:extLst>
              </p:cNvPr>
              <p:cNvSpPr/>
              <p:nvPr/>
            </p:nvSpPr>
            <p:spPr>
              <a:xfrm>
                <a:off x="7092043" y="2438733"/>
                <a:ext cx="1643742" cy="729341"/>
              </a:xfrm>
              <a:prstGeom prst="rect">
                <a:avLst/>
              </a:prstGeom>
              <a:solidFill>
                <a:srgbClr val="BDD7EE"/>
              </a:solid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Data Preparation</a:t>
                </a:r>
                <a:endParaRPr lang="en-AU" dirty="0"/>
              </a:p>
            </p:txBody>
          </p:sp>
        </p:grpSp>
        <p:cxnSp>
          <p:nvCxnSpPr>
            <p:cNvPr id="10" name="Straight Arrow Connector 27">
              <a:extLst>
                <a:ext uri="{FF2B5EF4-FFF2-40B4-BE49-F238E27FC236}">
                  <a16:creationId xmlns:a16="http://schemas.microsoft.com/office/drawing/2014/main" id="{681B1222-AB97-4D51-A5DD-88BCD09C1D0A}"/>
                </a:ext>
              </a:extLst>
            </p:cNvPr>
            <p:cNvCxnSpPr>
              <a:cxnSpLocks/>
              <a:stCxn id="18" idx="0"/>
            </p:cNvCxnSpPr>
            <p:nvPr/>
          </p:nvCxnSpPr>
          <p:spPr>
            <a:xfrm rot="16200000" flipV="1">
              <a:off x="4107287" y="3352879"/>
              <a:ext cx="2836152" cy="903115"/>
            </a:xfrm>
            <a:prstGeom prst="bentConnector3">
              <a:avLst>
                <a:gd name="adj1" fmla="val 20118"/>
              </a:avLst>
            </a:prstGeom>
            <a:ln w="50800" cap="flat">
              <a:solidFill>
                <a:srgbClr val="FF0000"/>
              </a:solidFill>
              <a:bevel/>
              <a:headEnd type="none"/>
              <a:tailEnd type="triangle"/>
            </a:ln>
          </p:spPr>
          <p:style>
            <a:lnRef idx="3">
              <a:schemeClr val="accent2"/>
            </a:lnRef>
            <a:fillRef idx="0">
              <a:schemeClr val="accent2"/>
            </a:fillRef>
            <a:effectRef idx="2">
              <a:schemeClr val="accent2"/>
            </a:effectRef>
            <a:fontRef idx="minor">
              <a:schemeClr val="tx1"/>
            </a:fontRef>
          </p:style>
        </p:cxnSp>
      </p:grpSp>
      <p:sp>
        <p:nvSpPr>
          <p:cNvPr id="2" name="TextBox 1">
            <a:extLst>
              <a:ext uri="{FF2B5EF4-FFF2-40B4-BE49-F238E27FC236}">
                <a16:creationId xmlns:a16="http://schemas.microsoft.com/office/drawing/2014/main" id="{8D6E5D41-F2C2-F7C4-3BF0-177C1E799394}"/>
              </a:ext>
            </a:extLst>
          </p:cNvPr>
          <p:cNvSpPr txBox="1"/>
          <p:nvPr/>
        </p:nvSpPr>
        <p:spPr>
          <a:xfrm>
            <a:off x="7194651" y="2691530"/>
            <a:ext cx="4863252" cy="307777"/>
          </a:xfrm>
          <a:prstGeom prst="rect">
            <a:avLst/>
          </a:prstGeom>
          <a:noFill/>
        </p:spPr>
        <p:txBody>
          <a:bodyPr wrap="square" rtlCol="0">
            <a:spAutoFit/>
          </a:bodyPr>
          <a:lstStyle/>
          <a:p>
            <a:pPr algn="r"/>
            <a:r>
              <a:rPr lang="en-US" b="1" dirty="0" err="1"/>
              <a:t>Pelaksanaan</a:t>
            </a:r>
            <a:r>
              <a:rPr lang="en-US" b="1" dirty="0"/>
              <a:t> </a:t>
            </a:r>
            <a:r>
              <a:rPr lang="en-US" b="1" dirty="0" err="1"/>
              <a:t>Analisis</a:t>
            </a:r>
            <a:endParaRPr lang="en-AU" dirty="0"/>
          </a:p>
        </p:txBody>
      </p:sp>
      <p:sp>
        <p:nvSpPr>
          <p:cNvPr id="3" name="TextBox 2">
            <a:extLst>
              <a:ext uri="{FF2B5EF4-FFF2-40B4-BE49-F238E27FC236}">
                <a16:creationId xmlns:a16="http://schemas.microsoft.com/office/drawing/2014/main" id="{EF60F6F2-75CD-EF56-E554-2855177777EB}"/>
              </a:ext>
            </a:extLst>
          </p:cNvPr>
          <p:cNvSpPr txBox="1"/>
          <p:nvPr/>
        </p:nvSpPr>
        <p:spPr>
          <a:xfrm>
            <a:off x="5134476" y="4124340"/>
            <a:ext cx="1377300" cy="523220"/>
          </a:xfrm>
          <a:prstGeom prst="rect">
            <a:avLst/>
          </a:prstGeom>
          <a:noFill/>
        </p:spPr>
        <p:txBody>
          <a:bodyPr wrap="none" rtlCol="0">
            <a:spAutoFit/>
          </a:bodyPr>
          <a:lstStyle/>
          <a:p>
            <a:r>
              <a:rPr lang="en-US" b="1" dirty="0"/>
              <a:t>Lolos </a:t>
            </a:r>
            <a:r>
              <a:rPr lang="en-US" b="1" dirty="0" err="1"/>
              <a:t>Standar</a:t>
            </a:r>
            <a:endParaRPr lang="en-US" b="1" dirty="0"/>
          </a:p>
          <a:p>
            <a:r>
              <a:rPr lang="en-US" b="1" dirty="0" err="1"/>
              <a:t>Evaluasi</a:t>
            </a:r>
            <a:endParaRPr lang="en-US" b="1" dirty="0"/>
          </a:p>
        </p:txBody>
      </p:sp>
    </p:spTree>
    <p:extLst>
      <p:ext uri="{BB962C8B-B14F-4D97-AF65-F5344CB8AC3E}">
        <p14:creationId xmlns:p14="http://schemas.microsoft.com/office/powerpoint/2010/main" val="5983466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78DEA1-0CCD-9918-CD08-7619D0076557}"/>
              </a:ext>
            </a:extLst>
          </p:cNvPr>
          <p:cNvPicPr>
            <a:picLocks noChangeAspect="1"/>
          </p:cNvPicPr>
          <p:nvPr/>
        </p:nvPicPr>
        <p:blipFill>
          <a:blip r:embed="rId2"/>
          <a:stretch>
            <a:fillRect/>
          </a:stretch>
        </p:blipFill>
        <p:spPr>
          <a:xfrm>
            <a:off x="826029" y="724996"/>
            <a:ext cx="9742734" cy="5408008"/>
          </a:xfrm>
          <a:prstGeom prst="rect">
            <a:avLst/>
          </a:prstGeom>
        </p:spPr>
      </p:pic>
    </p:spTree>
    <p:extLst>
      <p:ext uri="{BB962C8B-B14F-4D97-AF65-F5344CB8AC3E}">
        <p14:creationId xmlns:p14="http://schemas.microsoft.com/office/powerpoint/2010/main" val="41234220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B9957-E706-1FED-CE74-D959C9F36F36}"/>
              </a:ext>
            </a:extLst>
          </p:cNvPr>
          <p:cNvSpPr>
            <a:spLocks noGrp="1"/>
          </p:cNvSpPr>
          <p:nvPr>
            <p:ph type="title"/>
          </p:nvPr>
        </p:nvSpPr>
        <p:spPr>
          <a:xfrm>
            <a:off x="1545673" y="134190"/>
            <a:ext cx="9100654" cy="898576"/>
          </a:xfrm>
        </p:spPr>
        <p:txBody>
          <a:bodyPr/>
          <a:lstStyle/>
          <a:p>
            <a:r>
              <a:rPr lang="en-AU" dirty="0"/>
              <a:t>Tools yang </a:t>
            </a:r>
            <a:r>
              <a:rPr lang="en-AU" dirty="0" err="1"/>
              <a:t>Digunakan</a:t>
            </a:r>
            <a:endParaRPr lang="en-AU" dirty="0"/>
          </a:p>
        </p:txBody>
      </p:sp>
      <p:pic>
        <p:nvPicPr>
          <p:cNvPr id="4" name="Picture 3" descr="Data Science Technology Stack">
            <a:extLst>
              <a:ext uri="{FF2B5EF4-FFF2-40B4-BE49-F238E27FC236}">
                <a16:creationId xmlns:a16="http://schemas.microsoft.com/office/drawing/2014/main" id="{5215FAED-3E04-D98F-650C-C381A8D4995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2299"/>
          <a:stretch/>
        </p:blipFill>
        <p:spPr bwMode="auto">
          <a:xfrm>
            <a:off x="363111" y="1491586"/>
            <a:ext cx="11420526" cy="248969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Data Science Technology Stack">
            <a:extLst>
              <a:ext uri="{FF2B5EF4-FFF2-40B4-BE49-F238E27FC236}">
                <a16:creationId xmlns:a16="http://schemas.microsoft.com/office/drawing/2014/main" id="{0ED63D11-1A1F-87D4-7246-1FD8BEF954E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3" t="33696" r="50557" b="34006"/>
          <a:stretch/>
        </p:blipFill>
        <p:spPr bwMode="auto">
          <a:xfrm>
            <a:off x="3259917" y="4440097"/>
            <a:ext cx="5672165" cy="118777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treamlit – Revolutionizing Data App Creation – Towards AI — The Best of  Tech, Science, and Engineering">
            <a:extLst>
              <a:ext uri="{FF2B5EF4-FFF2-40B4-BE49-F238E27FC236}">
                <a16:creationId xmlns:a16="http://schemas.microsoft.com/office/drawing/2014/main" id="{AF785F80-EBDC-615B-CF02-D71BFB94292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4094"/>
          <a:stretch/>
        </p:blipFill>
        <p:spPr bwMode="auto">
          <a:xfrm>
            <a:off x="4861864" y="4916079"/>
            <a:ext cx="1204176" cy="618256"/>
          </a:xfrm>
          <a:prstGeom prst="rect">
            <a:avLst/>
          </a:prstGeom>
          <a:solidFill>
            <a:schemeClr val="lt1"/>
          </a:solidFill>
        </p:spPr>
      </p:pic>
      <p:pic>
        <p:nvPicPr>
          <p:cNvPr id="7" name="Picture 6" descr="upload.wikimedia.org/wikipedia/commons/thumb/3/...">
            <a:extLst>
              <a:ext uri="{FF2B5EF4-FFF2-40B4-BE49-F238E27FC236}">
                <a16:creationId xmlns:a16="http://schemas.microsoft.com/office/drawing/2014/main" id="{342F02EA-AD68-E3E0-8982-87CE1C6603F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27722" y="4969560"/>
            <a:ext cx="1270056" cy="497108"/>
          </a:xfrm>
          <a:prstGeom prst="rect">
            <a:avLst/>
          </a:prstGeom>
          <a:solidFill>
            <a:schemeClr val="lt1"/>
          </a:solidFill>
        </p:spPr>
      </p:pic>
      <p:pic>
        <p:nvPicPr>
          <p:cNvPr id="8" name="Picture 7" descr="Orange Data Mining - YouTube">
            <a:extLst>
              <a:ext uri="{FF2B5EF4-FFF2-40B4-BE49-F238E27FC236}">
                <a16:creationId xmlns:a16="http://schemas.microsoft.com/office/drawing/2014/main" id="{1FC99ACD-F505-542B-3807-45CA430944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24239" y="4898917"/>
            <a:ext cx="633123" cy="63312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7">
            <a:extLst>
              <a:ext uri="{FF2B5EF4-FFF2-40B4-BE49-F238E27FC236}">
                <a16:creationId xmlns:a16="http://schemas.microsoft.com/office/drawing/2014/main" id="{5D19D1F2-B9A1-41B9-0D3C-FA37A5E7D440}"/>
              </a:ext>
            </a:extLst>
          </p:cNvPr>
          <p:cNvSpPr txBox="1"/>
          <p:nvPr/>
        </p:nvSpPr>
        <p:spPr>
          <a:xfrm>
            <a:off x="5493911" y="4574269"/>
            <a:ext cx="1109599" cy="246221"/>
          </a:xfrm>
          <a:prstGeom prst="rect">
            <a:avLst/>
          </a:prstGeom>
          <a:solidFill>
            <a:srgbClr val="D4DCEE"/>
          </a:solid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chemeClr val="bg2"/>
                </a:solidFill>
              </a:rPr>
              <a:t>OTHER TOOLS</a:t>
            </a:r>
          </a:p>
        </p:txBody>
      </p:sp>
      <p:pic>
        <p:nvPicPr>
          <p:cNvPr id="1026" name="Picture 2">
            <a:extLst>
              <a:ext uri="{FF2B5EF4-FFF2-40B4-BE49-F238E27FC236}">
                <a16:creationId xmlns:a16="http://schemas.microsoft.com/office/drawing/2014/main" id="{7F1967EB-0527-7183-4D91-9ED2121307A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7147" b="-96220"/>
          <a:stretch/>
        </p:blipFill>
        <p:spPr bwMode="auto">
          <a:xfrm>
            <a:off x="6211076" y="4969560"/>
            <a:ext cx="1437861" cy="497108"/>
          </a:xfrm>
          <a:prstGeom prst="rect">
            <a:avLst/>
          </a:prstGeom>
          <a:solidFill>
            <a:srgbClr val="FFFFFF"/>
          </a:solidFill>
        </p:spPr>
      </p:pic>
    </p:spTree>
    <p:extLst>
      <p:ext uri="{BB962C8B-B14F-4D97-AF65-F5344CB8AC3E}">
        <p14:creationId xmlns:p14="http://schemas.microsoft.com/office/powerpoint/2010/main" val="22543675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13F2908A-ECAA-E4D3-DDF7-DB42E99111AB}"/>
              </a:ext>
            </a:extLst>
          </p:cNvPr>
          <p:cNvGrpSpPr/>
          <p:nvPr/>
        </p:nvGrpSpPr>
        <p:grpSpPr>
          <a:xfrm>
            <a:off x="175024" y="788774"/>
            <a:ext cx="11569368" cy="5556271"/>
            <a:chOff x="116505" y="833378"/>
            <a:chExt cx="11850911" cy="5691484"/>
          </a:xfrm>
        </p:grpSpPr>
        <p:sp>
          <p:nvSpPr>
            <p:cNvPr id="8" name="Rectangle: Rounded Corners 7">
              <a:extLst>
                <a:ext uri="{FF2B5EF4-FFF2-40B4-BE49-F238E27FC236}">
                  <a16:creationId xmlns:a16="http://schemas.microsoft.com/office/drawing/2014/main" id="{2F32DECB-843C-2FF5-E320-C0132D25F568}"/>
                </a:ext>
              </a:extLst>
            </p:cNvPr>
            <p:cNvSpPr/>
            <p:nvPr/>
          </p:nvSpPr>
          <p:spPr>
            <a:xfrm>
              <a:off x="966639" y="1911591"/>
              <a:ext cx="1703771" cy="4613271"/>
            </a:xfrm>
            <a:prstGeom prst="roundRect">
              <a:avLst>
                <a:gd name="adj" fmla="val 7835"/>
              </a:avLst>
            </a:prstGeom>
            <a:solidFill>
              <a:schemeClr val="accent1">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AU"/>
            </a:p>
          </p:txBody>
        </p:sp>
        <p:grpSp>
          <p:nvGrpSpPr>
            <p:cNvPr id="9" name="Group 8">
              <a:extLst>
                <a:ext uri="{FF2B5EF4-FFF2-40B4-BE49-F238E27FC236}">
                  <a16:creationId xmlns:a16="http://schemas.microsoft.com/office/drawing/2014/main" id="{FE726BC1-5276-E143-4AD4-9D44D51A6986}"/>
                </a:ext>
              </a:extLst>
            </p:cNvPr>
            <p:cNvGrpSpPr/>
            <p:nvPr/>
          </p:nvGrpSpPr>
          <p:grpSpPr>
            <a:xfrm>
              <a:off x="1127656" y="834052"/>
              <a:ext cx="1421508" cy="5528090"/>
              <a:chOff x="1127656" y="834052"/>
              <a:chExt cx="1421508" cy="5528090"/>
            </a:xfrm>
          </p:grpSpPr>
          <p:sp>
            <p:nvSpPr>
              <p:cNvPr id="10" name="Freeform: Shape 9">
                <a:extLst>
                  <a:ext uri="{FF2B5EF4-FFF2-40B4-BE49-F238E27FC236}">
                    <a16:creationId xmlns:a16="http://schemas.microsoft.com/office/drawing/2014/main" id="{C10CF895-C2EC-EB80-CB20-6C9BDB855C59}"/>
                  </a:ext>
                </a:extLst>
              </p:cNvPr>
              <p:cNvSpPr/>
              <p:nvPr/>
            </p:nvSpPr>
            <p:spPr>
              <a:xfrm>
                <a:off x="1127656" y="834052"/>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140" tIns="103140" rIns="103140" bIns="103140" numCol="1" spcCol="1270" anchor="ctr" anchorCtr="0">
                <a:noAutofit/>
              </a:bodyPr>
              <a:lstStyle/>
              <a:p>
                <a:pPr marL="0" lvl="0" indent="0" algn="ctr" defTabSz="933450">
                  <a:lnSpc>
                    <a:spcPct val="90000"/>
                  </a:lnSpc>
                  <a:spcBef>
                    <a:spcPct val="0"/>
                  </a:spcBef>
                  <a:spcAft>
                    <a:spcPct val="35000"/>
                  </a:spcAft>
                  <a:buNone/>
                </a:pPr>
                <a:r>
                  <a:rPr lang="en-AU" sz="1800" kern="1200"/>
                  <a:t>Renja</a:t>
                </a:r>
                <a:endParaRPr lang="en-AU" sz="1800" kern="1200" dirty="0"/>
              </a:p>
            </p:txBody>
          </p:sp>
          <p:sp>
            <p:nvSpPr>
              <p:cNvPr id="11" name="Freeform: Shape 10">
                <a:extLst>
                  <a:ext uri="{FF2B5EF4-FFF2-40B4-BE49-F238E27FC236}">
                    <a16:creationId xmlns:a16="http://schemas.microsoft.com/office/drawing/2014/main" id="{620FD445-D59D-8768-FD10-5DE5ACA4E055}"/>
                  </a:ext>
                </a:extLst>
              </p:cNvPr>
              <p:cNvSpPr/>
              <p:nvPr/>
            </p:nvSpPr>
            <p:spPr>
              <a:xfrm>
                <a:off x="1660722" y="1673138"/>
                <a:ext cx="355377" cy="296147"/>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12" name="Freeform: Shape 11">
                <a:extLst>
                  <a:ext uri="{FF2B5EF4-FFF2-40B4-BE49-F238E27FC236}">
                    <a16:creationId xmlns:a16="http://schemas.microsoft.com/office/drawing/2014/main" id="{A45A8DB1-D9BA-6225-F10E-2A5D88F0C7F7}"/>
                  </a:ext>
                </a:extLst>
              </p:cNvPr>
              <p:cNvSpPr/>
              <p:nvPr/>
            </p:nvSpPr>
            <p:spPr>
              <a:xfrm>
                <a:off x="1127656" y="2018643"/>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140" tIns="103140" rIns="103140" bIns="103140" numCol="1" spcCol="1270" anchor="ctr" anchorCtr="0">
                <a:noAutofit/>
              </a:bodyPr>
              <a:lstStyle/>
              <a:p>
                <a:pPr marL="0" lvl="0" indent="0" algn="ctr" defTabSz="933450">
                  <a:lnSpc>
                    <a:spcPct val="90000"/>
                  </a:lnSpc>
                  <a:spcBef>
                    <a:spcPct val="0"/>
                  </a:spcBef>
                  <a:spcAft>
                    <a:spcPct val="35000"/>
                  </a:spcAft>
                  <a:buNone/>
                </a:pPr>
                <a:r>
                  <a:rPr lang="en-AU" sz="1800" kern="1200" dirty="0"/>
                  <a:t>Program</a:t>
                </a:r>
              </a:p>
            </p:txBody>
          </p:sp>
          <p:sp>
            <p:nvSpPr>
              <p:cNvPr id="13" name="Freeform: Shape 12">
                <a:extLst>
                  <a:ext uri="{FF2B5EF4-FFF2-40B4-BE49-F238E27FC236}">
                    <a16:creationId xmlns:a16="http://schemas.microsoft.com/office/drawing/2014/main" id="{130F315E-339A-37F1-4EFC-7AC49883DD91}"/>
                  </a:ext>
                </a:extLst>
              </p:cNvPr>
              <p:cNvSpPr/>
              <p:nvPr/>
            </p:nvSpPr>
            <p:spPr>
              <a:xfrm>
                <a:off x="1660722" y="2857728"/>
                <a:ext cx="355377" cy="296147"/>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14" name="Freeform: Shape 13">
                <a:extLst>
                  <a:ext uri="{FF2B5EF4-FFF2-40B4-BE49-F238E27FC236}">
                    <a16:creationId xmlns:a16="http://schemas.microsoft.com/office/drawing/2014/main" id="{86FB556F-C9FB-4DE8-3FEE-84D1F80573C3}"/>
                  </a:ext>
                </a:extLst>
              </p:cNvPr>
              <p:cNvSpPr/>
              <p:nvPr/>
            </p:nvSpPr>
            <p:spPr>
              <a:xfrm>
                <a:off x="1127656" y="3203233"/>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140" tIns="103140" rIns="103140" bIns="103140" numCol="1" spcCol="1270" anchor="ctr" anchorCtr="0">
                <a:noAutofit/>
              </a:bodyPr>
              <a:lstStyle/>
              <a:p>
                <a:pPr marL="0" lvl="0" indent="0" algn="ctr" defTabSz="933450">
                  <a:lnSpc>
                    <a:spcPct val="90000"/>
                  </a:lnSpc>
                  <a:spcBef>
                    <a:spcPct val="0"/>
                  </a:spcBef>
                  <a:spcAft>
                    <a:spcPct val="35000"/>
                  </a:spcAft>
                  <a:buNone/>
                </a:pPr>
                <a:r>
                  <a:rPr lang="en-AU" sz="1800" kern="1200" dirty="0" err="1"/>
                  <a:t>Kegiatan</a:t>
                </a:r>
                <a:endParaRPr lang="en-AU" sz="1800" kern="1200" dirty="0"/>
              </a:p>
            </p:txBody>
          </p:sp>
          <p:sp>
            <p:nvSpPr>
              <p:cNvPr id="15" name="Freeform: Shape 14">
                <a:extLst>
                  <a:ext uri="{FF2B5EF4-FFF2-40B4-BE49-F238E27FC236}">
                    <a16:creationId xmlns:a16="http://schemas.microsoft.com/office/drawing/2014/main" id="{E8F62ADE-560E-4E8E-1639-5CAADD8F0F9B}"/>
                  </a:ext>
                </a:extLst>
              </p:cNvPr>
              <p:cNvSpPr/>
              <p:nvPr/>
            </p:nvSpPr>
            <p:spPr>
              <a:xfrm>
                <a:off x="1660722" y="4042319"/>
                <a:ext cx="355377" cy="296147"/>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16" name="Freeform: Shape 15">
                <a:extLst>
                  <a:ext uri="{FF2B5EF4-FFF2-40B4-BE49-F238E27FC236}">
                    <a16:creationId xmlns:a16="http://schemas.microsoft.com/office/drawing/2014/main" id="{28091E4F-5DFF-5B83-0252-626895B73C20}"/>
                  </a:ext>
                </a:extLst>
              </p:cNvPr>
              <p:cNvSpPr/>
              <p:nvPr/>
            </p:nvSpPr>
            <p:spPr>
              <a:xfrm>
                <a:off x="1127656" y="4387824"/>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140" tIns="103140" rIns="103140" bIns="103140" numCol="1" spcCol="1270" anchor="ctr" anchorCtr="0">
                <a:noAutofit/>
              </a:bodyPr>
              <a:lstStyle/>
              <a:p>
                <a:pPr marL="0" lvl="0" indent="0" algn="ctr" defTabSz="933450">
                  <a:lnSpc>
                    <a:spcPct val="90000"/>
                  </a:lnSpc>
                  <a:spcBef>
                    <a:spcPct val="0"/>
                  </a:spcBef>
                  <a:spcAft>
                    <a:spcPct val="35000"/>
                  </a:spcAft>
                  <a:buNone/>
                </a:pPr>
                <a:r>
                  <a:rPr lang="en-AU" sz="1800" kern="1200" dirty="0"/>
                  <a:t>Output</a:t>
                </a:r>
              </a:p>
            </p:txBody>
          </p:sp>
          <p:sp>
            <p:nvSpPr>
              <p:cNvPr id="17" name="Freeform: Shape 16">
                <a:extLst>
                  <a:ext uri="{FF2B5EF4-FFF2-40B4-BE49-F238E27FC236}">
                    <a16:creationId xmlns:a16="http://schemas.microsoft.com/office/drawing/2014/main" id="{D9B75E94-233F-DA3F-D1A4-D0C3AD5DA2B8}"/>
                  </a:ext>
                </a:extLst>
              </p:cNvPr>
              <p:cNvSpPr/>
              <p:nvPr/>
            </p:nvSpPr>
            <p:spPr>
              <a:xfrm>
                <a:off x="1660722" y="5226909"/>
                <a:ext cx="355377" cy="296147"/>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18" name="Freeform: Shape 17">
                <a:extLst>
                  <a:ext uri="{FF2B5EF4-FFF2-40B4-BE49-F238E27FC236}">
                    <a16:creationId xmlns:a16="http://schemas.microsoft.com/office/drawing/2014/main" id="{82983FF8-EA6A-6906-29D8-8466DA8BF033}"/>
                  </a:ext>
                </a:extLst>
              </p:cNvPr>
              <p:cNvSpPr/>
              <p:nvPr/>
            </p:nvSpPr>
            <p:spPr>
              <a:xfrm>
                <a:off x="1127656" y="5572415"/>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140" tIns="103140" rIns="103140" bIns="103140" numCol="1" spcCol="1270" anchor="ctr" anchorCtr="0">
                <a:noAutofit/>
              </a:bodyPr>
              <a:lstStyle/>
              <a:p>
                <a:pPr marL="0" lvl="0" indent="0" algn="ctr" defTabSz="933450">
                  <a:lnSpc>
                    <a:spcPct val="90000"/>
                  </a:lnSpc>
                  <a:spcBef>
                    <a:spcPct val="0"/>
                  </a:spcBef>
                  <a:spcAft>
                    <a:spcPct val="35000"/>
                  </a:spcAft>
                  <a:buNone/>
                </a:pPr>
                <a:r>
                  <a:rPr lang="en-AU" sz="1800" kern="1200" dirty="0" err="1"/>
                  <a:t>Komponen</a:t>
                </a:r>
                <a:endParaRPr lang="en-AU" sz="1800" kern="1200" dirty="0"/>
              </a:p>
            </p:txBody>
          </p:sp>
        </p:grpSp>
        <p:grpSp>
          <p:nvGrpSpPr>
            <p:cNvPr id="19" name="Group 18">
              <a:extLst>
                <a:ext uri="{FF2B5EF4-FFF2-40B4-BE49-F238E27FC236}">
                  <a16:creationId xmlns:a16="http://schemas.microsoft.com/office/drawing/2014/main" id="{7362C5B9-F8E8-81A6-44F0-8C8B18EFEEE9}"/>
                </a:ext>
              </a:extLst>
            </p:cNvPr>
            <p:cNvGrpSpPr/>
            <p:nvPr/>
          </p:nvGrpSpPr>
          <p:grpSpPr>
            <a:xfrm>
              <a:off x="3814912" y="833378"/>
              <a:ext cx="1421508" cy="4343499"/>
              <a:chOff x="6245596" y="1329235"/>
              <a:chExt cx="1421508" cy="4343499"/>
            </a:xfrm>
          </p:grpSpPr>
          <p:sp>
            <p:nvSpPr>
              <p:cNvPr id="20" name="Freeform: Shape 19">
                <a:extLst>
                  <a:ext uri="{FF2B5EF4-FFF2-40B4-BE49-F238E27FC236}">
                    <a16:creationId xmlns:a16="http://schemas.microsoft.com/office/drawing/2014/main" id="{CB325A6D-FAAE-5EC6-0DDC-67F77A8D0533}"/>
                  </a:ext>
                </a:extLst>
              </p:cNvPr>
              <p:cNvSpPr/>
              <p:nvPr/>
            </p:nvSpPr>
            <p:spPr>
              <a:xfrm>
                <a:off x="6245596" y="1329235"/>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30" tIns="99330" rIns="99330" bIns="99330" numCol="1" spcCol="1270" anchor="ctr" anchorCtr="0">
                <a:noAutofit/>
              </a:bodyPr>
              <a:lstStyle/>
              <a:p>
                <a:pPr marL="0" lvl="0" indent="0" algn="ctr" defTabSz="889000">
                  <a:lnSpc>
                    <a:spcPct val="90000"/>
                  </a:lnSpc>
                  <a:spcBef>
                    <a:spcPct val="0"/>
                  </a:spcBef>
                  <a:spcAft>
                    <a:spcPct val="35000"/>
                  </a:spcAft>
                  <a:buNone/>
                </a:pPr>
                <a:r>
                  <a:rPr lang="en-AU" sz="1600" kern="1200" dirty="0" err="1"/>
                  <a:t>Sasaran</a:t>
                </a:r>
                <a:r>
                  <a:rPr lang="en-AU" sz="1600" kern="1200" dirty="0"/>
                  <a:t> </a:t>
                </a:r>
                <a:r>
                  <a:rPr lang="en-AU" sz="1600" kern="1200" dirty="0" err="1"/>
                  <a:t>Strategis</a:t>
                </a:r>
                <a:endParaRPr lang="en-AU" sz="1600" kern="1200" dirty="0"/>
              </a:p>
            </p:txBody>
          </p:sp>
          <p:sp>
            <p:nvSpPr>
              <p:cNvPr id="21" name="Freeform: Shape 20">
                <a:extLst>
                  <a:ext uri="{FF2B5EF4-FFF2-40B4-BE49-F238E27FC236}">
                    <a16:creationId xmlns:a16="http://schemas.microsoft.com/office/drawing/2014/main" id="{C8D11132-7DD6-BDA3-89B6-2F7B72391444}"/>
                  </a:ext>
                </a:extLst>
              </p:cNvPr>
              <p:cNvSpPr/>
              <p:nvPr/>
            </p:nvSpPr>
            <p:spPr>
              <a:xfrm rot="10800000">
                <a:off x="6778662" y="2168321"/>
                <a:ext cx="355377" cy="296147"/>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a:solidFill>
                <a:schemeClr val="accent2">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22" name="Freeform: Shape 21">
                <a:extLst>
                  <a:ext uri="{FF2B5EF4-FFF2-40B4-BE49-F238E27FC236}">
                    <a16:creationId xmlns:a16="http://schemas.microsoft.com/office/drawing/2014/main" id="{0C82C68D-7E06-2436-59E1-5491B8AD9CDA}"/>
                  </a:ext>
                </a:extLst>
              </p:cNvPr>
              <p:cNvSpPr/>
              <p:nvPr/>
            </p:nvSpPr>
            <p:spPr>
              <a:xfrm>
                <a:off x="6245596" y="2513826"/>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30" tIns="99330" rIns="99330" bIns="99330" numCol="1" spcCol="1270" anchor="ctr" anchorCtr="0">
                <a:noAutofit/>
              </a:bodyPr>
              <a:lstStyle/>
              <a:p>
                <a:pPr marL="0" lvl="0" indent="0" algn="ctr" defTabSz="889000">
                  <a:lnSpc>
                    <a:spcPct val="90000"/>
                  </a:lnSpc>
                  <a:spcBef>
                    <a:spcPct val="0"/>
                  </a:spcBef>
                  <a:spcAft>
                    <a:spcPct val="35000"/>
                  </a:spcAft>
                  <a:buNone/>
                </a:pPr>
                <a:r>
                  <a:rPr lang="en-AU" sz="1600" kern="1200" dirty="0"/>
                  <a:t>Outcome Program</a:t>
                </a:r>
              </a:p>
            </p:txBody>
          </p:sp>
          <p:sp>
            <p:nvSpPr>
              <p:cNvPr id="23" name="Freeform: Shape 22">
                <a:extLst>
                  <a:ext uri="{FF2B5EF4-FFF2-40B4-BE49-F238E27FC236}">
                    <a16:creationId xmlns:a16="http://schemas.microsoft.com/office/drawing/2014/main" id="{AF199ABF-24D6-BA60-C376-140C3777C656}"/>
                  </a:ext>
                </a:extLst>
              </p:cNvPr>
              <p:cNvSpPr/>
              <p:nvPr/>
            </p:nvSpPr>
            <p:spPr>
              <a:xfrm rot="10800000">
                <a:off x="6778662" y="3352911"/>
                <a:ext cx="355377" cy="296147"/>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a:solidFill>
                <a:schemeClr val="accent2">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24" name="Freeform: Shape 23">
                <a:extLst>
                  <a:ext uri="{FF2B5EF4-FFF2-40B4-BE49-F238E27FC236}">
                    <a16:creationId xmlns:a16="http://schemas.microsoft.com/office/drawing/2014/main" id="{5ED3082C-6F82-6D03-871F-7538DE3BC39E}"/>
                  </a:ext>
                </a:extLst>
              </p:cNvPr>
              <p:cNvSpPr/>
              <p:nvPr/>
            </p:nvSpPr>
            <p:spPr>
              <a:xfrm>
                <a:off x="6245596" y="3698416"/>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30" tIns="99330" rIns="99330" bIns="99330" numCol="1" spcCol="1270" anchor="ctr" anchorCtr="0">
                <a:noAutofit/>
              </a:bodyPr>
              <a:lstStyle/>
              <a:p>
                <a:pPr marL="0" lvl="0" indent="0" algn="ctr" defTabSz="889000">
                  <a:lnSpc>
                    <a:spcPct val="90000"/>
                  </a:lnSpc>
                  <a:spcBef>
                    <a:spcPct val="0"/>
                  </a:spcBef>
                  <a:spcAft>
                    <a:spcPct val="35000"/>
                  </a:spcAft>
                  <a:buNone/>
                </a:pPr>
                <a:r>
                  <a:rPr lang="en-AU" sz="1600" kern="1200" dirty="0" err="1"/>
                  <a:t>Sasaran</a:t>
                </a:r>
                <a:r>
                  <a:rPr lang="en-AU" sz="1600" kern="1200" dirty="0"/>
                  <a:t> </a:t>
                </a:r>
                <a:r>
                  <a:rPr lang="en-AU" sz="1600" kern="1200" dirty="0" err="1"/>
                  <a:t>Kegiatan</a:t>
                </a:r>
                <a:endParaRPr lang="en-AU" sz="1600" kern="1200" dirty="0"/>
              </a:p>
            </p:txBody>
          </p:sp>
          <p:sp>
            <p:nvSpPr>
              <p:cNvPr id="25" name="Freeform: Shape 24">
                <a:extLst>
                  <a:ext uri="{FF2B5EF4-FFF2-40B4-BE49-F238E27FC236}">
                    <a16:creationId xmlns:a16="http://schemas.microsoft.com/office/drawing/2014/main" id="{8F4B6F1D-9AE5-0380-BD78-0BE0B5143B0B}"/>
                  </a:ext>
                </a:extLst>
              </p:cNvPr>
              <p:cNvSpPr/>
              <p:nvPr/>
            </p:nvSpPr>
            <p:spPr>
              <a:xfrm rot="10800000">
                <a:off x="6778662" y="4537502"/>
                <a:ext cx="355377" cy="296147"/>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a:solidFill>
                <a:schemeClr val="accent2">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26" name="Freeform: Shape 25">
                <a:extLst>
                  <a:ext uri="{FF2B5EF4-FFF2-40B4-BE49-F238E27FC236}">
                    <a16:creationId xmlns:a16="http://schemas.microsoft.com/office/drawing/2014/main" id="{1980E54A-F99C-8D42-5B8D-4DD921CE5EC4}"/>
                  </a:ext>
                </a:extLst>
              </p:cNvPr>
              <p:cNvSpPr/>
              <p:nvPr/>
            </p:nvSpPr>
            <p:spPr>
              <a:xfrm>
                <a:off x="6245596" y="4883007"/>
                <a:ext cx="1421508"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30" tIns="99330" rIns="99330" bIns="99330" numCol="1" spcCol="1270" anchor="ctr" anchorCtr="0">
                <a:noAutofit/>
              </a:bodyPr>
              <a:lstStyle/>
              <a:p>
                <a:pPr marL="0" lvl="0" indent="0" algn="ctr" defTabSz="889000">
                  <a:lnSpc>
                    <a:spcPct val="90000"/>
                  </a:lnSpc>
                  <a:spcBef>
                    <a:spcPct val="0"/>
                  </a:spcBef>
                  <a:spcAft>
                    <a:spcPct val="35000"/>
                  </a:spcAft>
                  <a:buNone/>
                </a:pPr>
                <a:r>
                  <a:rPr lang="en-AU" sz="1600" kern="1200" dirty="0" err="1"/>
                  <a:t>Rincian</a:t>
                </a:r>
                <a:r>
                  <a:rPr lang="en-AU" sz="1600" kern="1200"/>
                  <a:t> Output</a:t>
                </a:r>
                <a:endParaRPr lang="en-AU" sz="1600" kern="1200" dirty="0"/>
              </a:p>
            </p:txBody>
          </p:sp>
        </p:grpSp>
        <p:sp>
          <p:nvSpPr>
            <p:cNvPr id="27" name="Freeform: Shape 26">
              <a:extLst>
                <a:ext uri="{FF2B5EF4-FFF2-40B4-BE49-F238E27FC236}">
                  <a16:creationId xmlns:a16="http://schemas.microsoft.com/office/drawing/2014/main" id="{772D4C24-105F-D960-CD9A-E05D98998DA8}"/>
                </a:ext>
              </a:extLst>
            </p:cNvPr>
            <p:cNvSpPr/>
            <p:nvPr/>
          </p:nvSpPr>
          <p:spPr>
            <a:xfrm rot="16200000">
              <a:off x="3014979" y="769490"/>
              <a:ext cx="326835" cy="888958"/>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28" name="Freeform: Shape 27">
              <a:extLst>
                <a:ext uri="{FF2B5EF4-FFF2-40B4-BE49-F238E27FC236}">
                  <a16:creationId xmlns:a16="http://schemas.microsoft.com/office/drawing/2014/main" id="{AC896998-B4C6-7DE9-AE2D-07A55E4F963C}"/>
                </a:ext>
              </a:extLst>
            </p:cNvPr>
            <p:cNvSpPr/>
            <p:nvPr/>
          </p:nvSpPr>
          <p:spPr>
            <a:xfrm rot="16200000">
              <a:off x="3014980" y="1968352"/>
              <a:ext cx="326835" cy="888958"/>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29" name="Freeform: Shape 28">
              <a:extLst>
                <a:ext uri="{FF2B5EF4-FFF2-40B4-BE49-F238E27FC236}">
                  <a16:creationId xmlns:a16="http://schemas.microsoft.com/office/drawing/2014/main" id="{DB78EF31-61E5-4D92-9631-27963A0D969F}"/>
                </a:ext>
              </a:extLst>
            </p:cNvPr>
            <p:cNvSpPr/>
            <p:nvPr/>
          </p:nvSpPr>
          <p:spPr>
            <a:xfrm rot="16200000">
              <a:off x="3014980" y="3124789"/>
              <a:ext cx="326835" cy="888958"/>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30" name="Freeform: Shape 29">
              <a:extLst>
                <a:ext uri="{FF2B5EF4-FFF2-40B4-BE49-F238E27FC236}">
                  <a16:creationId xmlns:a16="http://schemas.microsoft.com/office/drawing/2014/main" id="{032EDC86-A766-C0DD-32C3-95C40309A0FC}"/>
                </a:ext>
              </a:extLst>
            </p:cNvPr>
            <p:cNvSpPr/>
            <p:nvPr/>
          </p:nvSpPr>
          <p:spPr>
            <a:xfrm rot="16200000">
              <a:off x="3014979" y="4337534"/>
              <a:ext cx="326835" cy="888958"/>
            </a:xfrm>
            <a:custGeom>
              <a:avLst/>
              <a:gdLst>
                <a:gd name="connsiteX0" fmla="*/ 0 w 296147"/>
                <a:gd name="connsiteY0" fmla="*/ 71075 h 355377"/>
                <a:gd name="connsiteX1" fmla="*/ 148074 w 296147"/>
                <a:gd name="connsiteY1" fmla="*/ 71075 h 355377"/>
                <a:gd name="connsiteX2" fmla="*/ 148074 w 296147"/>
                <a:gd name="connsiteY2" fmla="*/ 0 h 355377"/>
                <a:gd name="connsiteX3" fmla="*/ 296147 w 296147"/>
                <a:gd name="connsiteY3" fmla="*/ 177689 h 355377"/>
                <a:gd name="connsiteX4" fmla="*/ 148074 w 296147"/>
                <a:gd name="connsiteY4" fmla="*/ 355377 h 355377"/>
                <a:gd name="connsiteX5" fmla="*/ 148074 w 296147"/>
                <a:gd name="connsiteY5" fmla="*/ 284302 h 355377"/>
                <a:gd name="connsiteX6" fmla="*/ 0 w 296147"/>
                <a:gd name="connsiteY6" fmla="*/ 284302 h 355377"/>
                <a:gd name="connsiteX7" fmla="*/ 0 w 296147"/>
                <a:gd name="connsiteY7" fmla="*/ 71075 h 35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47" h="355377">
                  <a:moveTo>
                    <a:pt x="236918" y="0"/>
                  </a:moveTo>
                  <a:lnTo>
                    <a:pt x="236918" y="177689"/>
                  </a:lnTo>
                  <a:lnTo>
                    <a:pt x="296147" y="177689"/>
                  </a:lnTo>
                  <a:lnTo>
                    <a:pt x="148073" y="355377"/>
                  </a:lnTo>
                  <a:lnTo>
                    <a:pt x="0" y="177689"/>
                  </a:lnTo>
                  <a:lnTo>
                    <a:pt x="59229" y="177689"/>
                  </a:lnTo>
                  <a:lnTo>
                    <a:pt x="59229" y="0"/>
                  </a:lnTo>
                  <a:lnTo>
                    <a:pt x="236918" y="0"/>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71075" tIns="0" rIns="71075" bIns="88844" numCol="1" spcCol="1270" anchor="ctr" anchorCtr="0">
              <a:noAutofit/>
            </a:bodyPr>
            <a:lstStyle/>
            <a:p>
              <a:pPr marL="0" lvl="0" indent="0" algn="ctr" defTabSz="622300">
                <a:lnSpc>
                  <a:spcPct val="90000"/>
                </a:lnSpc>
                <a:spcBef>
                  <a:spcPct val="0"/>
                </a:spcBef>
                <a:spcAft>
                  <a:spcPct val="35000"/>
                </a:spcAft>
                <a:buNone/>
              </a:pPr>
              <a:endParaRPr lang="en-AU" sz="1400" kern="1200"/>
            </a:p>
          </p:txBody>
        </p:sp>
        <p:sp>
          <p:nvSpPr>
            <p:cNvPr id="31" name="Freeform: Shape 30">
              <a:extLst>
                <a:ext uri="{FF2B5EF4-FFF2-40B4-BE49-F238E27FC236}">
                  <a16:creationId xmlns:a16="http://schemas.microsoft.com/office/drawing/2014/main" id="{22E90C0F-C9A1-9494-D070-DC09E745DE9F}"/>
                </a:ext>
              </a:extLst>
            </p:cNvPr>
            <p:cNvSpPr/>
            <p:nvPr/>
          </p:nvSpPr>
          <p:spPr>
            <a:xfrm>
              <a:off x="5299926" y="4387150"/>
              <a:ext cx="1655655" cy="789727"/>
            </a:xfrm>
            <a:custGeom>
              <a:avLst/>
              <a:gdLst>
                <a:gd name="connsiteX0" fmla="*/ 0 w 1421508"/>
                <a:gd name="connsiteY0" fmla="*/ 78973 h 789727"/>
                <a:gd name="connsiteX1" fmla="*/ 78973 w 1421508"/>
                <a:gd name="connsiteY1" fmla="*/ 0 h 789727"/>
                <a:gd name="connsiteX2" fmla="*/ 1342535 w 1421508"/>
                <a:gd name="connsiteY2" fmla="*/ 0 h 789727"/>
                <a:gd name="connsiteX3" fmla="*/ 1421508 w 1421508"/>
                <a:gd name="connsiteY3" fmla="*/ 78973 h 789727"/>
                <a:gd name="connsiteX4" fmla="*/ 1421508 w 1421508"/>
                <a:gd name="connsiteY4" fmla="*/ 710754 h 789727"/>
                <a:gd name="connsiteX5" fmla="*/ 1342535 w 1421508"/>
                <a:gd name="connsiteY5" fmla="*/ 789727 h 789727"/>
                <a:gd name="connsiteX6" fmla="*/ 78973 w 1421508"/>
                <a:gd name="connsiteY6" fmla="*/ 789727 h 789727"/>
                <a:gd name="connsiteX7" fmla="*/ 0 w 1421508"/>
                <a:gd name="connsiteY7" fmla="*/ 710754 h 789727"/>
                <a:gd name="connsiteX8" fmla="*/ 0 w 1421508"/>
                <a:gd name="connsiteY8" fmla="*/ 78973 h 78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508" h="789727">
                  <a:moveTo>
                    <a:pt x="0" y="78973"/>
                  </a:moveTo>
                  <a:cubicBezTo>
                    <a:pt x="0" y="35357"/>
                    <a:pt x="35357" y="0"/>
                    <a:pt x="78973" y="0"/>
                  </a:cubicBezTo>
                  <a:lnTo>
                    <a:pt x="1342535" y="0"/>
                  </a:lnTo>
                  <a:cubicBezTo>
                    <a:pt x="1386151" y="0"/>
                    <a:pt x="1421508" y="35357"/>
                    <a:pt x="1421508" y="78973"/>
                  </a:cubicBezTo>
                  <a:lnTo>
                    <a:pt x="1421508" y="710754"/>
                  </a:lnTo>
                  <a:cubicBezTo>
                    <a:pt x="1421508" y="754370"/>
                    <a:pt x="1386151" y="789727"/>
                    <a:pt x="1342535" y="789727"/>
                  </a:cubicBezTo>
                  <a:lnTo>
                    <a:pt x="78973" y="789727"/>
                  </a:lnTo>
                  <a:cubicBezTo>
                    <a:pt x="35357" y="789727"/>
                    <a:pt x="0" y="754370"/>
                    <a:pt x="0" y="710754"/>
                  </a:cubicBezTo>
                  <a:lnTo>
                    <a:pt x="0" y="78973"/>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30" tIns="99330" rIns="99330" bIns="99330" numCol="1" spcCol="1270" anchor="ctr" anchorCtr="0">
              <a:noAutofit/>
            </a:bodyPr>
            <a:lstStyle/>
            <a:p>
              <a:pPr marL="0" lvl="0" indent="0" algn="ctr" defTabSz="889000">
                <a:lnSpc>
                  <a:spcPct val="90000"/>
                </a:lnSpc>
                <a:spcBef>
                  <a:spcPct val="0"/>
                </a:spcBef>
                <a:spcAft>
                  <a:spcPct val="35000"/>
                </a:spcAft>
                <a:buNone/>
              </a:pPr>
              <a:r>
                <a:rPr lang="en-AU" sz="1600" kern="1200" dirty="0"/>
                <a:t>Kode </a:t>
              </a:r>
              <a:r>
                <a:rPr lang="en-AU" sz="1600" kern="1200" dirty="0" err="1"/>
                <a:t>Rincian</a:t>
              </a:r>
              <a:r>
                <a:rPr lang="en-AU" sz="1600" kern="1200" dirty="0"/>
                <a:t> Output</a:t>
              </a:r>
            </a:p>
          </p:txBody>
        </p:sp>
        <p:sp>
          <p:nvSpPr>
            <p:cNvPr id="32" name="Callout: Bent Line with Accent Bar 31">
              <a:extLst>
                <a:ext uri="{FF2B5EF4-FFF2-40B4-BE49-F238E27FC236}">
                  <a16:creationId xmlns:a16="http://schemas.microsoft.com/office/drawing/2014/main" id="{FCA84714-09FE-DBB9-C704-922345F384F7}"/>
                </a:ext>
              </a:extLst>
            </p:cNvPr>
            <p:cNvSpPr/>
            <p:nvPr/>
          </p:nvSpPr>
          <p:spPr>
            <a:xfrm>
              <a:off x="7490971" y="833378"/>
              <a:ext cx="4476445" cy="5691483"/>
            </a:xfrm>
            <a:prstGeom prst="accentCallout2">
              <a:avLst>
                <a:gd name="adj1" fmla="val 18750"/>
                <a:gd name="adj2" fmla="val -8333"/>
                <a:gd name="adj3" fmla="val 58264"/>
                <a:gd name="adj4" fmla="val -41231"/>
                <a:gd name="adj5" fmla="val 59741"/>
                <a:gd name="adj6" fmla="val -58820"/>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n-ID" sz="1800" dirty="0" err="1">
                  <a:ln w="0"/>
                  <a:solidFill>
                    <a:schemeClr val="tx1"/>
                  </a:solidFill>
                  <a:effectLst>
                    <a:outerShdw blurRad="38100" dist="19050" dir="2700000" algn="tl" rotWithShape="0">
                      <a:schemeClr val="dk1">
                        <a:alpha val="40000"/>
                      </a:schemeClr>
                    </a:outerShdw>
                  </a:effectLst>
                </a:rPr>
                <a:t>Analisis</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nilai</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kedekat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teks</a:t>
              </a:r>
              <a:r>
                <a:rPr lang="en-ID" sz="1800" dirty="0">
                  <a:ln w="0"/>
                  <a:solidFill>
                    <a:schemeClr val="tx1"/>
                  </a:solidFill>
                  <a:effectLst>
                    <a:outerShdw blurRad="38100" dist="19050" dir="2700000" algn="tl" rotWithShape="0">
                      <a:schemeClr val="dk1">
                        <a:alpha val="40000"/>
                      </a:schemeClr>
                    </a:outerShdw>
                  </a:effectLst>
                </a:rPr>
                <a:t> (similarity) </a:t>
              </a:r>
              <a:r>
                <a:rPr lang="en-ID" sz="1800" dirty="0" err="1">
                  <a:ln w="0"/>
                  <a:solidFill>
                    <a:schemeClr val="tx1"/>
                  </a:solidFill>
                  <a:effectLst>
                    <a:outerShdw blurRad="38100" dist="19050" dir="2700000" algn="tl" rotWithShape="0">
                      <a:schemeClr val="dk1">
                        <a:alpha val="40000"/>
                      </a:schemeClr>
                    </a:outerShdw>
                  </a:effectLst>
                </a:rPr>
                <a:t>antar</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teks</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Sasar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Kegiat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Rincian</a:t>
              </a:r>
              <a:r>
                <a:rPr lang="en-ID" sz="1800" dirty="0">
                  <a:ln w="0"/>
                  <a:solidFill>
                    <a:schemeClr val="tx1"/>
                  </a:solidFill>
                  <a:effectLst>
                    <a:outerShdw blurRad="38100" dist="19050" dir="2700000" algn="tl" rotWithShape="0">
                      <a:schemeClr val="dk1">
                        <a:alpha val="40000"/>
                      </a:schemeClr>
                    </a:outerShdw>
                  </a:effectLst>
                </a:rPr>
                <a:t> Output, </a:t>
              </a:r>
              <a:r>
                <a:rPr lang="en-ID" sz="1800" dirty="0" err="1">
                  <a:ln w="0"/>
                  <a:solidFill>
                    <a:schemeClr val="tx1"/>
                  </a:solidFill>
                  <a:effectLst>
                    <a:outerShdw blurRad="38100" dist="19050" dir="2700000" algn="tl" rotWithShape="0">
                      <a:schemeClr val="dk1">
                        <a:alpha val="40000"/>
                      </a:schemeClr>
                    </a:outerShdw>
                  </a:effectLst>
                </a:rPr>
                <a:t>maupun</a:t>
              </a:r>
              <a:r>
                <a:rPr lang="en-ID" sz="1800" dirty="0">
                  <a:ln w="0"/>
                  <a:solidFill>
                    <a:schemeClr val="tx1"/>
                  </a:solidFill>
                  <a:effectLst>
                    <a:outerShdw blurRad="38100" dist="19050" dir="2700000" algn="tl" rotWithShape="0">
                      <a:schemeClr val="dk1">
                        <a:alpha val="40000"/>
                      </a:schemeClr>
                    </a:outerShdw>
                  </a:effectLst>
                </a:rPr>
                <a:t> Kode </a:t>
              </a:r>
              <a:r>
                <a:rPr lang="en-ID" sz="1800" dirty="0" err="1">
                  <a:ln w="0"/>
                  <a:solidFill>
                    <a:schemeClr val="tx1"/>
                  </a:solidFill>
                  <a:effectLst>
                    <a:outerShdw blurRad="38100" dist="19050" dir="2700000" algn="tl" rotWithShape="0">
                      <a:schemeClr val="dk1">
                        <a:alpha val="40000"/>
                      </a:schemeClr>
                    </a:outerShdw>
                  </a:effectLst>
                </a:rPr>
                <a:t>Rincian</a:t>
              </a:r>
              <a:r>
                <a:rPr lang="en-ID" sz="1800" dirty="0">
                  <a:ln w="0"/>
                  <a:solidFill>
                    <a:schemeClr val="tx1"/>
                  </a:solidFill>
                  <a:effectLst>
                    <a:outerShdw blurRad="38100" dist="19050" dir="2700000" algn="tl" rotWithShape="0">
                      <a:schemeClr val="dk1">
                        <a:alpha val="40000"/>
                      </a:schemeClr>
                    </a:outerShdw>
                  </a:effectLst>
                </a:rPr>
                <a:t> Output. Nilai </a:t>
              </a:r>
              <a:r>
                <a:rPr lang="en-ID" sz="1800" dirty="0" err="1">
                  <a:ln w="0"/>
                  <a:solidFill>
                    <a:schemeClr val="tx1"/>
                  </a:solidFill>
                  <a:effectLst>
                    <a:outerShdw blurRad="38100" dist="19050" dir="2700000" algn="tl" rotWithShape="0">
                      <a:schemeClr val="dk1">
                        <a:alpha val="40000"/>
                      </a:schemeClr>
                    </a:outerShdw>
                  </a:effectLst>
                </a:rPr>
                <a:t>tersebut</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dapat</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menjadi</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dasar</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reviu</a:t>
              </a:r>
              <a:r>
                <a:rPr lang="en-ID" sz="1800" dirty="0">
                  <a:ln w="0"/>
                  <a:solidFill>
                    <a:schemeClr val="tx1"/>
                  </a:solidFill>
                  <a:effectLst>
                    <a:outerShdw blurRad="38100" dist="19050" dir="2700000" algn="tl" rotWithShape="0">
                      <a:schemeClr val="dk1">
                        <a:alpha val="40000"/>
                      </a:schemeClr>
                    </a:outerShdw>
                  </a:effectLst>
                </a:rPr>
                <a:t> RKA yang </a:t>
              </a:r>
              <a:r>
                <a:rPr lang="en-ID" sz="1800" dirty="0" err="1">
                  <a:ln w="0"/>
                  <a:solidFill>
                    <a:schemeClr val="tx1"/>
                  </a:solidFill>
                  <a:effectLst>
                    <a:outerShdw blurRad="38100" dist="19050" dir="2700000" algn="tl" rotWithShape="0">
                      <a:schemeClr val="dk1">
                        <a:alpha val="40000"/>
                      </a:schemeClr>
                    </a:outerShdw>
                  </a:effectLst>
                </a:rPr>
                <a:t>ak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dilakukan</a:t>
              </a:r>
              <a:endParaRPr lang="en-ID" sz="1800" dirty="0">
                <a:ln w="0"/>
                <a:solidFill>
                  <a:schemeClr val="tx1"/>
                </a:solidFill>
                <a:effectLst>
                  <a:outerShdw blurRad="38100" dist="19050" dir="2700000" algn="tl" rotWithShape="0">
                    <a:schemeClr val="dk1">
                      <a:alpha val="40000"/>
                    </a:schemeClr>
                  </a:outerShdw>
                </a:effectLst>
              </a:endParaRPr>
            </a:p>
            <a:p>
              <a:pPr marL="285750" indent="-285750" algn="just">
                <a:buFont typeface="Arial" panose="020B0604020202020204" pitchFamily="34" charset="0"/>
                <a:buChar char="•"/>
              </a:pPr>
              <a:endParaRPr lang="en-ID" sz="1800" dirty="0">
                <a:ln w="0"/>
                <a:solidFill>
                  <a:schemeClr val="tx1"/>
                </a:solidFill>
                <a:effectLst>
                  <a:outerShdw blurRad="38100" dist="19050" dir="2700000" algn="tl" rotWithShape="0">
                    <a:schemeClr val="dk1">
                      <a:alpha val="40000"/>
                    </a:schemeClr>
                  </a:outerShdw>
                </a:effectLst>
              </a:endParaRPr>
            </a:p>
            <a:p>
              <a:pPr marL="285750" indent="-285750" algn="just">
                <a:buFont typeface="Arial" panose="020B0604020202020204" pitchFamily="34" charset="0"/>
                <a:buChar char="•"/>
              </a:pPr>
              <a:r>
                <a:rPr lang="en-ID" sz="1800" dirty="0" err="1">
                  <a:ln w="0"/>
                  <a:solidFill>
                    <a:schemeClr val="tx1"/>
                  </a:solidFill>
                  <a:effectLst>
                    <a:outerShdw blurRad="38100" dist="19050" dir="2700000" algn="tl" rotWithShape="0">
                      <a:schemeClr val="dk1">
                        <a:alpha val="40000"/>
                      </a:schemeClr>
                    </a:outerShdw>
                  </a:effectLst>
                </a:rPr>
                <a:t>Analisis</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bersifat</a:t>
              </a:r>
              <a:r>
                <a:rPr lang="en-ID" sz="1800" dirty="0">
                  <a:ln w="0"/>
                  <a:solidFill>
                    <a:schemeClr val="tx1"/>
                  </a:solidFill>
                  <a:effectLst>
                    <a:outerShdw blurRad="38100" dist="19050" dir="2700000" algn="tl" rotWithShape="0">
                      <a:schemeClr val="dk1">
                        <a:alpha val="40000"/>
                      </a:schemeClr>
                    </a:outerShdw>
                  </a:effectLst>
                </a:rPr>
                <a:t> single year </a:t>
              </a:r>
              <a:r>
                <a:rPr lang="en-ID" sz="1800" dirty="0" err="1">
                  <a:ln w="0"/>
                  <a:solidFill>
                    <a:schemeClr val="tx1"/>
                  </a:solidFill>
                  <a:effectLst>
                    <a:outerShdw blurRad="38100" dist="19050" dir="2700000" algn="tl" rotWithShape="0">
                      <a:schemeClr val="dk1">
                        <a:alpha val="40000"/>
                      </a:schemeClr>
                    </a:outerShdw>
                  </a:effectLst>
                </a:rPr>
                <a:t>bukan</a:t>
              </a:r>
              <a:r>
                <a:rPr lang="en-ID" sz="1800" dirty="0">
                  <a:ln w="0"/>
                  <a:solidFill>
                    <a:schemeClr val="tx1"/>
                  </a:solidFill>
                  <a:effectLst>
                    <a:outerShdw blurRad="38100" dist="19050" dir="2700000" algn="tl" rotWithShape="0">
                      <a:schemeClr val="dk1">
                        <a:alpha val="40000"/>
                      </a:schemeClr>
                    </a:outerShdw>
                  </a:effectLst>
                </a:rPr>
                <a:t> multi year </a:t>
              </a:r>
              <a:r>
                <a:rPr lang="en-ID" sz="1800" dirty="0" err="1">
                  <a:ln w="0"/>
                  <a:solidFill>
                    <a:schemeClr val="tx1"/>
                  </a:solidFill>
                  <a:effectLst>
                    <a:outerShdw blurRad="38100" dist="19050" dir="2700000" algn="tl" rotWithShape="0">
                      <a:schemeClr val="dk1">
                        <a:alpha val="40000"/>
                      </a:schemeClr>
                    </a:outerShdw>
                  </a:effectLst>
                </a:rPr>
                <a:t>sehingga</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tidak</a:t>
              </a:r>
              <a:r>
                <a:rPr lang="en-ID" sz="1800" dirty="0">
                  <a:ln w="0"/>
                  <a:solidFill>
                    <a:schemeClr val="tx1"/>
                  </a:solidFill>
                  <a:effectLst>
                    <a:outerShdw blurRad="38100" dist="19050" dir="2700000" algn="tl" rotWithShape="0">
                      <a:schemeClr val="dk1">
                        <a:alpha val="40000"/>
                      </a:schemeClr>
                    </a:outerShdw>
                  </a:effectLst>
                </a:rPr>
                <a:t> pada </a:t>
              </a:r>
              <a:r>
                <a:rPr lang="en-ID" sz="1800" dirty="0" err="1">
                  <a:ln w="0"/>
                  <a:solidFill>
                    <a:schemeClr val="tx1"/>
                  </a:solidFill>
                  <a:effectLst>
                    <a:outerShdw blurRad="38100" dist="19050" dir="2700000" algn="tl" rotWithShape="0">
                      <a:schemeClr val="dk1">
                        <a:alpha val="40000"/>
                      </a:schemeClr>
                    </a:outerShdw>
                  </a:effectLst>
                </a:rPr>
                <a:t>digunak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untuk</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mencari</a:t>
              </a:r>
              <a:r>
                <a:rPr lang="en-ID" sz="1800" dirty="0">
                  <a:ln w="0"/>
                  <a:solidFill>
                    <a:schemeClr val="tx1"/>
                  </a:solidFill>
                  <a:effectLst>
                    <a:outerShdw blurRad="38100" dist="19050" dir="2700000" algn="tl" rotWithShape="0">
                      <a:schemeClr val="dk1">
                        <a:alpha val="40000"/>
                      </a:schemeClr>
                    </a:outerShdw>
                  </a:effectLst>
                </a:rPr>
                <a:t> K/L yang </a:t>
              </a:r>
              <a:r>
                <a:rPr lang="en-ID" sz="1800" dirty="0" err="1">
                  <a:ln w="0"/>
                  <a:solidFill>
                    <a:schemeClr val="tx1"/>
                  </a:solidFill>
                  <a:effectLst>
                    <a:outerShdw blurRad="38100" dist="19050" dir="2700000" algn="tl" rotWithShape="0">
                      <a:schemeClr val="dk1">
                        <a:alpha val="40000"/>
                      </a:schemeClr>
                    </a:outerShdw>
                  </a:effectLst>
                </a:rPr>
                <a:t>selalu</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muncul</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dalam</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anomali</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penganggarannya</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kurang</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efektif</a:t>
              </a:r>
              <a:r>
                <a:rPr lang="en-ID" sz="1800" dirty="0">
                  <a:ln w="0"/>
                  <a:solidFill>
                    <a:schemeClr val="tx1"/>
                  </a:solidFill>
                  <a:effectLst>
                    <a:outerShdw blurRad="38100" dist="19050" dir="2700000" algn="tl" rotWithShape="0">
                      <a:schemeClr val="dk1">
                        <a:alpha val="40000"/>
                      </a:schemeClr>
                    </a:outerShdw>
                  </a:effectLst>
                </a:rPr>
                <a:t>)</a:t>
              </a:r>
            </a:p>
            <a:p>
              <a:pPr marL="285750" indent="-285750" algn="just">
                <a:buFont typeface="Arial" panose="020B0604020202020204" pitchFamily="34" charset="0"/>
                <a:buChar char="•"/>
              </a:pPr>
              <a:endParaRPr lang="en-ID" sz="1800" dirty="0">
                <a:ln w="0"/>
                <a:solidFill>
                  <a:schemeClr val="tx1"/>
                </a:solidFill>
                <a:effectLst>
                  <a:outerShdw blurRad="38100" dist="19050" dir="2700000" algn="tl" rotWithShape="0">
                    <a:schemeClr val="dk1">
                      <a:alpha val="40000"/>
                    </a:schemeClr>
                  </a:outerShdw>
                </a:effectLst>
              </a:endParaRPr>
            </a:p>
            <a:p>
              <a:pPr marL="285750" indent="-285750" algn="just">
                <a:buFont typeface="Arial" panose="020B0604020202020204" pitchFamily="34" charset="0"/>
                <a:buChar char="•"/>
              </a:pPr>
              <a:r>
                <a:rPr lang="en-ID" sz="1800" dirty="0" err="1">
                  <a:ln w="0"/>
                  <a:solidFill>
                    <a:schemeClr val="tx1"/>
                  </a:solidFill>
                  <a:effectLst>
                    <a:outerShdw blurRad="38100" dist="19050" dir="2700000" algn="tl" rotWithShape="0">
                      <a:schemeClr val="dk1">
                        <a:alpha val="40000"/>
                      </a:schemeClr>
                    </a:outerShdw>
                  </a:effectLst>
                </a:rPr>
                <a:t>Analisis</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ini</a:t>
              </a:r>
              <a:r>
                <a:rPr lang="en-ID" sz="1800" dirty="0">
                  <a:ln w="0"/>
                  <a:solidFill>
                    <a:schemeClr val="tx1"/>
                  </a:solidFill>
                  <a:effectLst>
                    <a:outerShdw blurRad="38100" dist="19050" dir="2700000" algn="tl" rotWithShape="0">
                      <a:schemeClr val="dk1">
                        <a:alpha val="40000"/>
                      </a:schemeClr>
                    </a:outerShdw>
                  </a:effectLst>
                </a:rPr>
                <a:t> juga </a:t>
              </a:r>
              <a:r>
                <a:rPr lang="en-ID" sz="1800" dirty="0" err="1">
                  <a:ln w="0"/>
                  <a:solidFill>
                    <a:schemeClr val="tx1"/>
                  </a:solidFill>
                  <a:effectLst>
                    <a:outerShdw blurRad="38100" dist="19050" dir="2700000" algn="tl" rotWithShape="0">
                      <a:schemeClr val="dk1">
                        <a:alpha val="40000"/>
                      </a:schemeClr>
                    </a:outerShdw>
                  </a:effectLst>
                </a:rPr>
                <a:t>buk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untuk</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menyimpulk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efektivitas</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sistem</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penganggar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tapi</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dapat</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memberikan</a:t>
              </a:r>
              <a:r>
                <a:rPr lang="en-ID" sz="1800" dirty="0">
                  <a:ln w="0"/>
                  <a:solidFill>
                    <a:schemeClr val="tx1"/>
                  </a:solidFill>
                  <a:effectLst>
                    <a:outerShdw blurRad="38100" dist="19050" dir="2700000" algn="tl" rotWithShape="0">
                      <a:schemeClr val="dk1">
                        <a:alpha val="40000"/>
                      </a:schemeClr>
                    </a:outerShdw>
                  </a:effectLst>
                </a:rPr>
                <a:t> </a:t>
              </a:r>
              <a:r>
                <a:rPr lang="en-ID" sz="1800" i="1" dirty="0">
                  <a:ln w="0"/>
                  <a:solidFill>
                    <a:schemeClr val="tx1"/>
                  </a:solidFill>
                  <a:effectLst>
                    <a:outerShdw blurRad="38100" dist="19050" dir="2700000" algn="tl" rotWithShape="0">
                      <a:schemeClr val="dk1">
                        <a:alpha val="40000"/>
                      </a:schemeClr>
                    </a:outerShdw>
                  </a:effectLst>
                </a:rPr>
                <a:t>insight</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dalam</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melakuka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evaluasi</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baik</a:t>
              </a:r>
              <a:r>
                <a:rPr lang="en-ID" sz="1800" dirty="0">
                  <a:ln w="0"/>
                  <a:solidFill>
                    <a:schemeClr val="tx1"/>
                  </a:solidFill>
                  <a:effectLst>
                    <a:outerShdw blurRad="38100" dist="19050" dir="2700000" algn="tl" rotWithShape="0">
                      <a:schemeClr val="dk1">
                        <a:alpha val="40000"/>
                      </a:schemeClr>
                    </a:outerShdw>
                  </a:effectLst>
                </a:rPr>
                <a:t> oleh </a:t>
              </a:r>
              <a:r>
                <a:rPr lang="en-ID" sz="1800" dirty="0" err="1">
                  <a:ln w="0"/>
                  <a:solidFill>
                    <a:schemeClr val="tx1"/>
                  </a:solidFill>
                  <a:effectLst>
                    <a:outerShdw blurRad="38100" dist="19050" dir="2700000" algn="tl" rotWithShape="0">
                      <a:schemeClr val="dk1">
                        <a:alpha val="40000"/>
                      </a:schemeClr>
                    </a:outerShdw>
                  </a:effectLst>
                </a:rPr>
                <a:t>manajeme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maupun</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aparat</a:t>
              </a:r>
              <a:r>
                <a:rPr lang="en-ID" sz="1800" dirty="0">
                  <a:ln w="0"/>
                  <a:solidFill>
                    <a:schemeClr val="tx1"/>
                  </a:solidFill>
                  <a:effectLst>
                    <a:outerShdw blurRad="38100" dist="19050" dir="2700000" algn="tl" rotWithShape="0">
                      <a:schemeClr val="dk1">
                        <a:alpha val="40000"/>
                      </a:schemeClr>
                    </a:outerShdw>
                  </a:effectLst>
                </a:rPr>
                <a:t> </a:t>
              </a:r>
              <a:r>
                <a:rPr lang="en-ID" sz="1800" dirty="0" err="1">
                  <a:ln w="0"/>
                  <a:solidFill>
                    <a:schemeClr val="tx1"/>
                  </a:solidFill>
                  <a:effectLst>
                    <a:outerShdw blurRad="38100" dist="19050" dir="2700000" algn="tl" rotWithShape="0">
                      <a:schemeClr val="dk1">
                        <a:alpha val="40000"/>
                      </a:schemeClr>
                    </a:outerShdw>
                  </a:effectLst>
                </a:rPr>
                <a:t>pengawasan</a:t>
              </a:r>
              <a:endParaRPr lang="en-ID" sz="1800" dirty="0">
                <a:ln w="0"/>
                <a:solidFill>
                  <a:schemeClr val="tx1"/>
                </a:solidFill>
                <a:effectLst>
                  <a:outerShdw blurRad="38100" dist="19050" dir="2700000" algn="tl" rotWithShape="0">
                    <a:schemeClr val="dk1">
                      <a:alpha val="40000"/>
                    </a:schemeClr>
                  </a:outerShdw>
                </a:effectLst>
              </a:endParaRPr>
            </a:p>
            <a:p>
              <a:pPr algn="ctr"/>
              <a:endParaRPr lang="en-ID" sz="1600" dirty="0">
                <a:ln w="0"/>
                <a:solidFill>
                  <a:schemeClr val="tx1"/>
                </a:solidFill>
                <a:effectLst>
                  <a:outerShdw blurRad="38100" dist="19050" dir="2700000" algn="tl" rotWithShape="0">
                    <a:schemeClr val="dk1">
                      <a:alpha val="40000"/>
                    </a:schemeClr>
                  </a:outerShdw>
                </a:effectLst>
              </a:endParaRPr>
            </a:p>
          </p:txBody>
        </p:sp>
        <p:sp>
          <p:nvSpPr>
            <p:cNvPr id="33" name="TextBox 32">
              <a:extLst>
                <a:ext uri="{FF2B5EF4-FFF2-40B4-BE49-F238E27FC236}">
                  <a16:creationId xmlns:a16="http://schemas.microsoft.com/office/drawing/2014/main" id="{92C24CFC-D399-6A51-F6BC-C2118CC3B0B1}"/>
                </a:ext>
              </a:extLst>
            </p:cNvPr>
            <p:cNvSpPr txBox="1"/>
            <p:nvPr/>
          </p:nvSpPr>
          <p:spPr>
            <a:xfrm>
              <a:off x="116505" y="4005052"/>
              <a:ext cx="833883" cy="369332"/>
            </a:xfrm>
            <a:prstGeom prst="rect">
              <a:avLst/>
            </a:prstGeom>
            <a:noFill/>
          </p:spPr>
          <p:txBody>
            <a:bodyPr wrap="none" rtlCol="0">
              <a:spAutoFit/>
            </a:bodyPr>
            <a:lstStyle/>
            <a:p>
              <a:r>
                <a:rPr lang="en-AU" dirty="0"/>
                <a:t>RKA KL</a:t>
              </a:r>
            </a:p>
          </p:txBody>
        </p:sp>
      </p:grpSp>
      <p:sp>
        <p:nvSpPr>
          <p:cNvPr id="35" name="Google Shape;339;p36">
            <a:extLst>
              <a:ext uri="{FF2B5EF4-FFF2-40B4-BE49-F238E27FC236}">
                <a16:creationId xmlns:a16="http://schemas.microsoft.com/office/drawing/2014/main" id="{6A133D83-A21A-CDE6-FC44-0325F07E6EB7}"/>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err="1"/>
              <a:t>Contoh</a:t>
            </a:r>
            <a:r>
              <a:rPr lang="en-US" dirty="0"/>
              <a:t> Business Case (</a:t>
            </a:r>
            <a:r>
              <a:rPr lang="en-US" dirty="0" err="1"/>
              <a:t>Risiko</a:t>
            </a:r>
            <a:r>
              <a:rPr lang="en-US" dirty="0"/>
              <a:t>)</a:t>
            </a:r>
          </a:p>
        </p:txBody>
      </p:sp>
    </p:spTree>
    <p:extLst>
      <p:ext uri="{BB962C8B-B14F-4D97-AF65-F5344CB8AC3E}">
        <p14:creationId xmlns:p14="http://schemas.microsoft.com/office/powerpoint/2010/main" val="11098274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39;p36">
            <a:extLst>
              <a:ext uri="{FF2B5EF4-FFF2-40B4-BE49-F238E27FC236}">
                <a16:creationId xmlns:a16="http://schemas.microsoft.com/office/drawing/2014/main" id="{FE272CAE-896B-4112-B019-951DF18CC9FF}"/>
              </a:ext>
            </a:extLst>
          </p:cNvPr>
          <p:cNvSpPr txBox="1">
            <a:spLocks/>
          </p:cNvSpPr>
          <p:nvPr/>
        </p:nvSpPr>
        <p:spPr>
          <a:xfrm>
            <a:off x="1620101" y="26568"/>
            <a:ext cx="9100654" cy="89857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1800"/>
              <a:buFont typeface="Roboto"/>
              <a:buNone/>
              <a:defRPr sz="3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000"/>
            </a:pPr>
            <a:r>
              <a:rPr lang="en-US" dirty="0"/>
              <a:t>Text Mining (Natural Language Processing / NLP)</a:t>
            </a:r>
          </a:p>
        </p:txBody>
      </p:sp>
      <p:grpSp>
        <p:nvGrpSpPr>
          <p:cNvPr id="10" name="Group 9">
            <a:extLst>
              <a:ext uri="{FF2B5EF4-FFF2-40B4-BE49-F238E27FC236}">
                <a16:creationId xmlns:a16="http://schemas.microsoft.com/office/drawing/2014/main" id="{96602E56-1850-40EB-F6BB-DBDC3ABB446F}"/>
              </a:ext>
            </a:extLst>
          </p:cNvPr>
          <p:cNvGrpSpPr/>
          <p:nvPr/>
        </p:nvGrpSpPr>
        <p:grpSpPr>
          <a:xfrm>
            <a:off x="951777" y="759710"/>
            <a:ext cx="10076897" cy="4362636"/>
            <a:chOff x="1298029" y="718649"/>
            <a:chExt cx="10076897" cy="4165866"/>
          </a:xfrm>
        </p:grpSpPr>
        <p:sp>
          <p:nvSpPr>
            <p:cNvPr id="15" name="Freeform: Shape 14">
              <a:extLst>
                <a:ext uri="{FF2B5EF4-FFF2-40B4-BE49-F238E27FC236}">
                  <a16:creationId xmlns:a16="http://schemas.microsoft.com/office/drawing/2014/main" id="{3DED2741-8EBA-DB43-7D79-C27A5241325D}"/>
                </a:ext>
              </a:extLst>
            </p:cNvPr>
            <p:cNvSpPr/>
            <p:nvPr/>
          </p:nvSpPr>
          <p:spPr>
            <a:xfrm rot="16200000">
              <a:off x="-566" y="2905931"/>
              <a:ext cx="3249376" cy="652185"/>
            </a:xfrm>
            <a:custGeom>
              <a:avLst/>
              <a:gdLst>
                <a:gd name="connsiteX0" fmla="*/ 0 w 3249376"/>
                <a:gd name="connsiteY0" fmla="*/ 0 h 652185"/>
                <a:gd name="connsiteX1" fmla="*/ 3249376 w 3249376"/>
                <a:gd name="connsiteY1" fmla="*/ 0 h 652185"/>
                <a:gd name="connsiteX2" fmla="*/ 3249376 w 3249376"/>
                <a:gd name="connsiteY2" fmla="*/ 652185 h 652185"/>
                <a:gd name="connsiteX3" fmla="*/ 0 w 3249376"/>
                <a:gd name="connsiteY3" fmla="*/ 652185 h 652185"/>
                <a:gd name="connsiteX4" fmla="*/ 0 w 3249376"/>
                <a:gd name="connsiteY4" fmla="*/ 0 h 652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376" h="652185">
                  <a:moveTo>
                    <a:pt x="0" y="0"/>
                  </a:moveTo>
                  <a:lnTo>
                    <a:pt x="3249376" y="0"/>
                  </a:lnTo>
                  <a:lnTo>
                    <a:pt x="3249376" y="652185"/>
                  </a:lnTo>
                  <a:lnTo>
                    <a:pt x="0" y="65218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575191" bIns="0" numCol="1" spcCol="1270" anchor="t"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marL="0" lvl="0" indent="0" algn="r" defTabSz="1111250">
                <a:lnSpc>
                  <a:spcPct val="90000"/>
                </a:lnSpc>
                <a:spcBef>
                  <a:spcPct val="0"/>
                </a:spcBef>
                <a:spcAft>
                  <a:spcPct val="35000"/>
                </a:spcAft>
                <a:buNone/>
              </a:pPr>
              <a:r>
                <a:rPr lang="en-US" sz="2400" kern="1200" dirty="0"/>
                <a:t>Data yang </a:t>
              </a:r>
              <a:r>
                <a:rPr lang="en-US" sz="2400" kern="1200" dirty="0" err="1"/>
                <a:t>Dianalisis</a:t>
              </a:r>
              <a:endParaRPr lang="en-US" sz="2400" kern="1200" dirty="0"/>
            </a:p>
          </p:txBody>
        </p:sp>
        <p:sp>
          <p:nvSpPr>
            <p:cNvPr id="16" name="Freeform: Shape 15">
              <a:extLst>
                <a:ext uri="{FF2B5EF4-FFF2-40B4-BE49-F238E27FC236}">
                  <a16:creationId xmlns:a16="http://schemas.microsoft.com/office/drawing/2014/main" id="{6E6635DA-0DB7-7260-9C9A-7BF82165B403}"/>
                </a:ext>
              </a:extLst>
            </p:cNvPr>
            <p:cNvSpPr/>
            <p:nvPr/>
          </p:nvSpPr>
          <p:spPr>
            <a:xfrm>
              <a:off x="1729901" y="1635139"/>
              <a:ext cx="4072054" cy="3249376"/>
            </a:xfrm>
            <a:custGeom>
              <a:avLst/>
              <a:gdLst>
                <a:gd name="connsiteX0" fmla="*/ 0 w 4072054"/>
                <a:gd name="connsiteY0" fmla="*/ 0 h 3249376"/>
                <a:gd name="connsiteX1" fmla="*/ 4072054 w 4072054"/>
                <a:gd name="connsiteY1" fmla="*/ 0 h 3249376"/>
                <a:gd name="connsiteX2" fmla="*/ 4072054 w 4072054"/>
                <a:gd name="connsiteY2" fmla="*/ 3249376 h 3249376"/>
                <a:gd name="connsiteX3" fmla="*/ 0 w 4072054"/>
                <a:gd name="connsiteY3" fmla="*/ 3249376 h 3249376"/>
                <a:gd name="connsiteX4" fmla="*/ 0 w 4072054"/>
                <a:gd name="connsiteY4" fmla="*/ 0 h 324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2054" h="3249376">
                  <a:moveTo>
                    <a:pt x="0" y="0"/>
                  </a:moveTo>
                  <a:lnTo>
                    <a:pt x="4072054" y="0"/>
                  </a:lnTo>
                  <a:lnTo>
                    <a:pt x="4072054" y="3249376"/>
                  </a:lnTo>
                  <a:lnTo>
                    <a:pt x="0" y="324937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5191" rIns="36000" bIns="163576"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1" indent="-171450" algn="l" defTabSz="800100">
                <a:lnSpc>
                  <a:spcPct val="90000"/>
                </a:lnSpc>
                <a:spcBef>
                  <a:spcPct val="0"/>
                </a:spcBef>
                <a:spcAft>
                  <a:spcPct val="15000"/>
                </a:spcAft>
                <a:buChar char="•"/>
              </a:pPr>
              <a:r>
                <a:rPr lang="en-US" sz="1700" kern="1200" dirty="0"/>
                <a:t>Data </a:t>
              </a:r>
              <a:r>
                <a:rPr lang="en-US" sz="1700" kern="1200" dirty="0" err="1"/>
                <a:t>Anggaran</a:t>
              </a:r>
              <a:r>
                <a:rPr lang="en-US" sz="1700" kern="1200" dirty="0"/>
                <a:t> (RAKL) 2021</a:t>
              </a:r>
              <a:endParaRPr lang="en-US" sz="1700" dirty="0"/>
            </a:p>
            <a:p>
              <a:pPr marL="171450" lvl="1" indent="-171450" algn="l" defTabSz="800100">
                <a:lnSpc>
                  <a:spcPct val="90000"/>
                </a:lnSpc>
                <a:spcBef>
                  <a:spcPct val="0"/>
                </a:spcBef>
                <a:spcAft>
                  <a:spcPct val="15000"/>
                </a:spcAft>
                <a:buChar char="•"/>
              </a:pPr>
              <a:r>
                <a:rPr lang="en-US" sz="1700" kern="1200" dirty="0"/>
                <a:t>Data Granularity:</a:t>
              </a:r>
            </a:p>
            <a:p>
              <a:pPr marL="171450" lvl="1" indent="-171450" algn="l" defTabSz="800100">
                <a:lnSpc>
                  <a:spcPct val="90000"/>
                </a:lnSpc>
                <a:spcBef>
                  <a:spcPct val="0"/>
                </a:spcBef>
                <a:spcAft>
                  <a:spcPct val="15000"/>
                </a:spcAft>
                <a:buChar char="•"/>
              </a:pPr>
              <a:endParaRPr lang="en-US" sz="1700" dirty="0"/>
            </a:p>
            <a:p>
              <a:pPr marL="171450" lvl="1" indent="-171450" algn="l" defTabSz="800100">
                <a:lnSpc>
                  <a:spcPct val="90000"/>
                </a:lnSpc>
                <a:spcBef>
                  <a:spcPct val="0"/>
                </a:spcBef>
                <a:spcAft>
                  <a:spcPct val="15000"/>
                </a:spcAft>
                <a:buChar char="•"/>
              </a:pPr>
              <a:endParaRPr lang="en-US" sz="1700" kern="1200" dirty="0"/>
            </a:p>
            <a:p>
              <a:pPr marL="171450" lvl="1" indent="-171450" algn="l" defTabSz="800100">
                <a:lnSpc>
                  <a:spcPct val="90000"/>
                </a:lnSpc>
                <a:spcBef>
                  <a:spcPct val="0"/>
                </a:spcBef>
                <a:spcAft>
                  <a:spcPct val="15000"/>
                </a:spcAft>
                <a:buChar char="•"/>
              </a:pPr>
              <a:endParaRPr lang="en-US" sz="1700" dirty="0"/>
            </a:p>
            <a:p>
              <a:pPr marL="171450" lvl="1" indent="-171450" algn="l" defTabSz="800100">
                <a:lnSpc>
                  <a:spcPct val="90000"/>
                </a:lnSpc>
                <a:spcBef>
                  <a:spcPct val="0"/>
                </a:spcBef>
                <a:spcAft>
                  <a:spcPct val="15000"/>
                </a:spcAft>
                <a:buChar char="•"/>
              </a:pPr>
              <a:endParaRPr lang="en-US" sz="1700" kern="1200" dirty="0"/>
            </a:p>
            <a:p>
              <a:pPr marL="171450" lvl="1" indent="-171450" algn="l" defTabSz="800100">
                <a:lnSpc>
                  <a:spcPct val="90000"/>
                </a:lnSpc>
                <a:spcBef>
                  <a:spcPct val="0"/>
                </a:spcBef>
                <a:spcAft>
                  <a:spcPct val="15000"/>
                </a:spcAft>
                <a:buChar char="•"/>
              </a:pPr>
              <a:endParaRPr lang="en-US" sz="1700" dirty="0"/>
            </a:p>
            <a:p>
              <a:pPr marL="171450" lvl="1" indent="-171450" algn="l" defTabSz="800100">
                <a:lnSpc>
                  <a:spcPct val="90000"/>
                </a:lnSpc>
                <a:spcBef>
                  <a:spcPct val="0"/>
                </a:spcBef>
                <a:spcAft>
                  <a:spcPct val="15000"/>
                </a:spcAft>
                <a:buChar char="•"/>
              </a:pPr>
              <a:endParaRPr lang="en-US" sz="1700" kern="1200" dirty="0"/>
            </a:p>
            <a:p>
              <a:pPr marL="0" lvl="1" algn="l" defTabSz="800100">
                <a:lnSpc>
                  <a:spcPct val="90000"/>
                </a:lnSpc>
                <a:spcBef>
                  <a:spcPct val="0"/>
                </a:spcBef>
                <a:spcAft>
                  <a:spcPct val="15000"/>
                </a:spcAft>
              </a:pPr>
              <a:endParaRPr lang="en-US" sz="1700" dirty="0"/>
            </a:p>
            <a:p>
              <a:pPr marL="171450" lvl="1" indent="-171450" algn="l" defTabSz="800100">
                <a:lnSpc>
                  <a:spcPct val="90000"/>
                </a:lnSpc>
                <a:spcBef>
                  <a:spcPct val="0"/>
                </a:spcBef>
                <a:spcAft>
                  <a:spcPct val="15000"/>
                </a:spcAft>
                <a:buChar char="•"/>
              </a:pPr>
              <a:r>
                <a:rPr lang="en-US" sz="1700" kern="1200" dirty="0"/>
                <a:t>Teks </a:t>
              </a:r>
              <a:r>
                <a:rPr lang="en-US" sz="1700" kern="1200" dirty="0" err="1"/>
                <a:t>atas</a:t>
              </a:r>
              <a:r>
                <a:rPr lang="en-US" sz="1700" kern="1200" dirty="0"/>
                <a:t> </a:t>
              </a:r>
              <a:r>
                <a:rPr lang="en-US" sz="1700" kern="1200" dirty="0" err="1"/>
                <a:t>sasaran</a:t>
              </a:r>
              <a:r>
                <a:rPr lang="en-US" sz="1700" kern="1200" dirty="0"/>
                <a:t> </a:t>
              </a:r>
              <a:r>
                <a:rPr lang="en-US" sz="1700" kern="1200" dirty="0" err="1"/>
                <a:t>kegiatan</a:t>
              </a:r>
              <a:r>
                <a:rPr lang="en-US" sz="1700" kern="1200" dirty="0"/>
                <a:t> dan output</a:t>
              </a:r>
            </a:p>
          </p:txBody>
        </p:sp>
        <p:sp>
          <p:nvSpPr>
            <p:cNvPr id="17" name="Rectangle 16">
              <a:extLst>
                <a:ext uri="{FF2B5EF4-FFF2-40B4-BE49-F238E27FC236}">
                  <a16:creationId xmlns:a16="http://schemas.microsoft.com/office/drawing/2014/main" id="{20A1B2C6-254D-8DFF-8DF5-80048377D347}"/>
                </a:ext>
              </a:extLst>
            </p:cNvPr>
            <p:cNvSpPr/>
            <p:nvPr/>
          </p:nvSpPr>
          <p:spPr>
            <a:xfrm>
              <a:off x="1317347" y="718649"/>
              <a:ext cx="1304370" cy="1304370"/>
            </a:xfrm>
            <a:prstGeom prst="rect">
              <a:avLst/>
            </a:prstGeom>
            <a:blipFill>
              <a:blip r:embed="rId2" cstate="print">
                <a:extLst>
                  <a:ext uri="{28A0092B-C50C-407E-A947-70E740481C1C}">
                    <a14:useLocalDpi xmlns:a14="http://schemas.microsoft.com/office/drawing/2010/main" val="0"/>
                  </a:ext>
                </a:extLst>
              </a:blip>
              <a:srcRect/>
              <a:stretch>
                <a:fillRect l="-50000" r="-50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AU"/>
            </a:p>
          </p:txBody>
        </p:sp>
        <p:sp>
          <p:nvSpPr>
            <p:cNvPr id="18" name="Freeform: Shape 17">
              <a:extLst>
                <a:ext uri="{FF2B5EF4-FFF2-40B4-BE49-F238E27FC236}">
                  <a16:creationId xmlns:a16="http://schemas.microsoft.com/office/drawing/2014/main" id="{846CEF4F-FE49-82B4-CE40-A9BD37979F6C}"/>
                </a:ext>
              </a:extLst>
            </p:cNvPr>
            <p:cNvSpPr/>
            <p:nvPr/>
          </p:nvSpPr>
          <p:spPr>
            <a:xfrm rot="16200000">
              <a:off x="6022078" y="2905932"/>
              <a:ext cx="3249376" cy="652185"/>
            </a:xfrm>
            <a:custGeom>
              <a:avLst/>
              <a:gdLst>
                <a:gd name="connsiteX0" fmla="*/ 0 w 3249376"/>
                <a:gd name="connsiteY0" fmla="*/ 0 h 652185"/>
                <a:gd name="connsiteX1" fmla="*/ 3249376 w 3249376"/>
                <a:gd name="connsiteY1" fmla="*/ 0 h 652185"/>
                <a:gd name="connsiteX2" fmla="*/ 3249376 w 3249376"/>
                <a:gd name="connsiteY2" fmla="*/ 652185 h 652185"/>
                <a:gd name="connsiteX3" fmla="*/ 0 w 3249376"/>
                <a:gd name="connsiteY3" fmla="*/ 652185 h 652185"/>
                <a:gd name="connsiteX4" fmla="*/ 0 w 3249376"/>
                <a:gd name="connsiteY4" fmla="*/ 0 h 652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376" h="652185">
                  <a:moveTo>
                    <a:pt x="0" y="0"/>
                  </a:moveTo>
                  <a:lnTo>
                    <a:pt x="3249376" y="0"/>
                  </a:lnTo>
                  <a:lnTo>
                    <a:pt x="3249376" y="652185"/>
                  </a:lnTo>
                  <a:lnTo>
                    <a:pt x="0" y="65218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575191" bIns="0" numCol="1" spcCol="1270" anchor="t"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marL="0" lvl="0" indent="0" algn="r" defTabSz="1111250">
                <a:lnSpc>
                  <a:spcPct val="90000"/>
                </a:lnSpc>
                <a:spcBef>
                  <a:spcPct val="0"/>
                </a:spcBef>
                <a:spcAft>
                  <a:spcPct val="35000"/>
                </a:spcAft>
                <a:buNone/>
              </a:pPr>
              <a:r>
                <a:rPr lang="en-US" sz="2800" kern="1200" dirty="0" err="1"/>
                <a:t>Metodologi</a:t>
              </a:r>
              <a:endParaRPr lang="en-US" sz="2800" kern="1200" dirty="0"/>
            </a:p>
          </p:txBody>
        </p:sp>
        <p:sp>
          <p:nvSpPr>
            <p:cNvPr id="19" name="Freeform: Shape 18">
              <a:extLst>
                <a:ext uri="{FF2B5EF4-FFF2-40B4-BE49-F238E27FC236}">
                  <a16:creationId xmlns:a16="http://schemas.microsoft.com/office/drawing/2014/main" id="{D47A5FE4-FD3A-A15C-A0B0-E50900358E58}"/>
                </a:ext>
              </a:extLst>
            </p:cNvPr>
            <p:cNvSpPr/>
            <p:nvPr/>
          </p:nvSpPr>
          <p:spPr>
            <a:xfrm>
              <a:off x="7819363" y="1607336"/>
              <a:ext cx="3555563" cy="3249376"/>
            </a:xfrm>
            <a:custGeom>
              <a:avLst/>
              <a:gdLst>
                <a:gd name="connsiteX0" fmla="*/ 0 w 3555563"/>
                <a:gd name="connsiteY0" fmla="*/ 0 h 3249376"/>
                <a:gd name="connsiteX1" fmla="*/ 3555563 w 3555563"/>
                <a:gd name="connsiteY1" fmla="*/ 0 h 3249376"/>
                <a:gd name="connsiteX2" fmla="*/ 3555563 w 3555563"/>
                <a:gd name="connsiteY2" fmla="*/ 3249376 h 3249376"/>
                <a:gd name="connsiteX3" fmla="*/ 0 w 3555563"/>
                <a:gd name="connsiteY3" fmla="*/ 3249376 h 3249376"/>
                <a:gd name="connsiteX4" fmla="*/ 0 w 3555563"/>
                <a:gd name="connsiteY4" fmla="*/ 0 h 324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563" h="3249376">
                  <a:moveTo>
                    <a:pt x="0" y="0"/>
                  </a:moveTo>
                  <a:lnTo>
                    <a:pt x="3555563" y="0"/>
                  </a:lnTo>
                  <a:lnTo>
                    <a:pt x="3555563" y="3249376"/>
                  </a:lnTo>
                  <a:lnTo>
                    <a:pt x="0" y="324937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575191" rIns="72000" bIns="163576"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1" indent="-171450" algn="l" defTabSz="800100">
                <a:lnSpc>
                  <a:spcPct val="90000"/>
                </a:lnSpc>
                <a:spcBef>
                  <a:spcPct val="0"/>
                </a:spcBef>
                <a:spcAft>
                  <a:spcPct val="15000"/>
                </a:spcAft>
                <a:buFont typeface="Arial" panose="020B0604020202020204" pitchFamily="34" charset="0"/>
                <a:buChar char="•"/>
              </a:pPr>
              <a:r>
                <a:rPr lang="en-US" sz="1700" kern="1200" dirty="0" err="1"/>
                <a:t>Perhitungan</a:t>
              </a:r>
              <a:r>
                <a:rPr lang="en-US" sz="1700" kern="1200" dirty="0"/>
                <a:t> </a:t>
              </a:r>
              <a:r>
                <a:rPr lang="en-US" sz="1700" i="1" kern="1200" dirty="0"/>
                <a:t>text similarity</a:t>
              </a:r>
              <a:r>
                <a:rPr lang="en-US" sz="1700" kern="1200" dirty="0"/>
                <a:t> – </a:t>
              </a:r>
              <a:r>
                <a:rPr lang="en-US" sz="1700" kern="1200" dirty="0" err="1"/>
                <a:t>kedekatan</a:t>
              </a:r>
              <a:r>
                <a:rPr lang="en-US" sz="1700" kern="1200" dirty="0"/>
                <a:t> </a:t>
              </a:r>
              <a:r>
                <a:rPr lang="en-US" sz="1700" kern="1200" dirty="0" err="1"/>
                <a:t>antar</a:t>
              </a:r>
              <a:r>
                <a:rPr lang="en-US" sz="1700" kern="1200" dirty="0"/>
                <a:t> text</a:t>
              </a:r>
            </a:p>
            <a:p>
              <a:pPr marL="171450" lvl="1" indent="-171450" algn="l" defTabSz="800100">
                <a:lnSpc>
                  <a:spcPct val="90000"/>
                </a:lnSpc>
                <a:spcBef>
                  <a:spcPct val="0"/>
                </a:spcBef>
                <a:spcAft>
                  <a:spcPct val="15000"/>
                </a:spcAft>
                <a:buChar char="•"/>
              </a:pPr>
              <a:r>
                <a:rPr lang="en-US" sz="1700" kern="1200" dirty="0"/>
                <a:t>Text mining </a:t>
              </a:r>
              <a:r>
                <a:rPr lang="en-US" sz="1700" kern="1200" dirty="0" err="1"/>
                <a:t>dengan</a:t>
              </a:r>
              <a:r>
                <a:rPr lang="en-US" sz="1700" kern="1200" dirty="0"/>
                <a:t> </a:t>
              </a:r>
              <a:r>
                <a:rPr lang="en-US" sz="1700" kern="1200" dirty="0" err="1"/>
                <a:t>menggunakan</a:t>
              </a:r>
              <a:r>
                <a:rPr lang="en-US" sz="1700" kern="1200" dirty="0"/>
                <a:t> pretrained Multilanguage Transformer Model</a:t>
              </a:r>
            </a:p>
            <a:p>
              <a:pPr marL="171450" lvl="1" indent="-171450" algn="l" defTabSz="800100">
                <a:lnSpc>
                  <a:spcPct val="90000"/>
                </a:lnSpc>
                <a:spcBef>
                  <a:spcPct val="0"/>
                </a:spcBef>
                <a:spcAft>
                  <a:spcPct val="15000"/>
                </a:spcAft>
                <a:buChar char="•"/>
              </a:pPr>
              <a:r>
                <a:rPr lang="en-US" sz="1700" kern="1200" dirty="0"/>
                <a:t>Python </a:t>
              </a:r>
              <a:r>
                <a:rPr lang="en-US" sz="1700" kern="1200" dirty="0" err="1"/>
                <a:t>dengan</a:t>
              </a:r>
              <a:r>
                <a:rPr lang="en-US" sz="1700" kern="1200" dirty="0"/>
                <a:t> </a:t>
              </a:r>
              <a:r>
                <a:rPr lang="en-US" sz="1700" kern="1200" dirty="0" err="1"/>
                <a:t>Huggingface</a:t>
              </a:r>
              <a:r>
                <a:rPr lang="en-US" sz="1700" kern="1200" dirty="0"/>
                <a:t> library</a:t>
              </a:r>
            </a:p>
            <a:p>
              <a:pPr marL="171450" lvl="1" indent="-171450" algn="l" defTabSz="800100">
                <a:lnSpc>
                  <a:spcPct val="90000"/>
                </a:lnSpc>
                <a:spcBef>
                  <a:spcPct val="0"/>
                </a:spcBef>
                <a:spcAft>
                  <a:spcPct val="15000"/>
                </a:spcAft>
                <a:buChar char="•"/>
              </a:pPr>
              <a:r>
                <a:rPr lang="en-US" sz="1700" kern="1200" dirty="0" err="1"/>
                <a:t>Perhitungan</a:t>
              </a:r>
              <a:r>
                <a:rPr lang="en-US" sz="1700" kern="1200" dirty="0"/>
                <a:t> </a:t>
              </a:r>
              <a:r>
                <a:rPr lang="en-US" sz="1700" kern="1200" dirty="0" err="1"/>
                <a:t>kedekatan</a:t>
              </a:r>
              <a:r>
                <a:rPr lang="en-US" sz="1700" kern="1200" dirty="0"/>
                <a:t> </a:t>
              </a:r>
              <a:r>
                <a:rPr lang="en-US" sz="1700" kern="1200" dirty="0" err="1"/>
                <a:t>teks</a:t>
              </a:r>
              <a:r>
                <a:rPr lang="en-US" sz="1700" kern="1200" dirty="0"/>
                <a:t> </a:t>
              </a:r>
              <a:r>
                <a:rPr lang="en-US" sz="1700" kern="1200" dirty="0" err="1"/>
                <a:t>dengan</a:t>
              </a:r>
              <a:r>
                <a:rPr lang="en-US" sz="1700" kern="1200" dirty="0"/>
                <a:t> formula cosine similarity</a:t>
              </a:r>
            </a:p>
          </p:txBody>
        </p:sp>
        <p:sp>
          <p:nvSpPr>
            <p:cNvPr id="20" name="Rectangle 19">
              <a:extLst>
                <a:ext uri="{FF2B5EF4-FFF2-40B4-BE49-F238E27FC236}">
                  <a16:creationId xmlns:a16="http://schemas.microsoft.com/office/drawing/2014/main" id="{760945CD-229C-759B-7C6A-CBE4B60A3C87}"/>
                </a:ext>
              </a:extLst>
            </p:cNvPr>
            <p:cNvSpPr/>
            <p:nvPr/>
          </p:nvSpPr>
          <p:spPr>
            <a:xfrm>
              <a:off x="7320673" y="746452"/>
              <a:ext cx="1304370" cy="1304370"/>
            </a:xfrm>
            <a:prstGeom prst="rect">
              <a:avLst/>
            </a:prstGeom>
            <a:blipFill>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AU"/>
            </a:p>
          </p:txBody>
        </p:sp>
      </p:grpSp>
      <p:grpSp>
        <p:nvGrpSpPr>
          <p:cNvPr id="11" name="Group 10">
            <a:extLst>
              <a:ext uri="{FF2B5EF4-FFF2-40B4-BE49-F238E27FC236}">
                <a16:creationId xmlns:a16="http://schemas.microsoft.com/office/drawing/2014/main" id="{DAB4B146-DF40-847A-9BA4-306A39E49410}"/>
              </a:ext>
            </a:extLst>
          </p:cNvPr>
          <p:cNvGrpSpPr/>
          <p:nvPr/>
        </p:nvGrpSpPr>
        <p:grpSpPr>
          <a:xfrm>
            <a:off x="1287331" y="5247075"/>
            <a:ext cx="9766193" cy="1152192"/>
            <a:chOff x="3354252" y="340079"/>
            <a:chExt cx="7711933" cy="2292470"/>
          </a:xfrm>
        </p:grpSpPr>
        <p:sp>
          <p:nvSpPr>
            <p:cNvPr id="13" name="Rectangle 10">
              <a:extLst>
                <a:ext uri="{FF2B5EF4-FFF2-40B4-BE49-F238E27FC236}">
                  <a16:creationId xmlns:a16="http://schemas.microsoft.com/office/drawing/2014/main" id="{6FF0DCFA-60BB-DFAD-784F-E073EE864341}"/>
                </a:ext>
              </a:extLst>
            </p:cNvPr>
            <p:cNvSpPr/>
            <p:nvPr/>
          </p:nvSpPr>
          <p:spPr>
            <a:xfrm>
              <a:off x="3373875" y="340079"/>
              <a:ext cx="7692310" cy="2292468"/>
            </a:xfrm>
            <a:prstGeom prst="roundRect">
              <a:avLst/>
            </a:prstGeom>
          </p:spPr>
          <p:style>
            <a:lnRef idx="2">
              <a:schemeClr val="accent1"/>
            </a:lnRef>
            <a:fillRef idx="1">
              <a:schemeClr val="lt1"/>
            </a:fillRef>
            <a:effectRef idx="0">
              <a:schemeClr val="accent1"/>
            </a:effectRef>
            <a:fontRef idx="minor">
              <a:schemeClr val="dk1"/>
            </a:fontRef>
          </p:style>
          <p:txBody>
            <a:bodyPr/>
            <a:lstStyle/>
            <a:p>
              <a:endParaRPr lang="en-AU"/>
            </a:p>
          </p:txBody>
        </p:sp>
        <p:sp>
          <p:nvSpPr>
            <p:cNvPr id="14" name="TextBox 11">
              <a:extLst>
                <a:ext uri="{FF2B5EF4-FFF2-40B4-BE49-F238E27FC236}">
                  <a16:creationId xmlns:a16="http://schemas.microsoft.com/office/drawing/2014/main" id="{261A7A05-8A61-E890-ECC2-FD981E0A9688}"/>
                </a:ext>
              </a:extLst>
            </p:cNvPr>
            <p:cNvSpPr txBox="1"/>
            <p:nvPr/>
          </p:nvSpPr>
          <p:spPr>
            <a:xfrm>
              <a:off x="3354252" y="340081"/>
              <a:ext cx="7692310" cy="2292468"/>
            </a:xfrm>
            <a:prstGeom prst="roundRect">
              <a:avLst/>
            </a:prstGeom>
          </p:spPr>
          <p:style>
            <a:lnRef idx="2">
              <a:schemeClr val="accent1"/>
            </a:lnRef>
            <a:fillRef idx="1">
              <a:schemeClr val="lt1"/>
            </a:fillRef>
            <a:effectRef idx="0">
              <a:schemeClr val="accent1"/>
            </a:effectRef>
            <a:fontRef idx="minor">
              <a:schemeClr val="dk1"/>
            </a:fontRef>
          </p:style>
          <p:txBody>
            <a:bodyPr spcFirstLastPara="0" vert="horz" wrap="square" lIns="99060" tIns="99060" rIns="99060" bIns="99060" numCol="1" spcCol="1270" anchor="ctr" anchorCtr="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28600" lvl="1" indent="-228600" algn="l" defTabSz="1155700">
                <a:lnSpc>
                  <a:spcPct val="90000"/>
                </a:lnSpc>
                <a:spcBef>
                  <a:spcPct val="0"/>
                </a:spcBef>
                <a:spcAft>
                  <a:spcPct val="15000"/>
                </a:spcAft>
                <a:buChar char="•"/>
              </a:pPr>
              <a:r>
                <a:rPr lang="en-US" sz="2400" kern="1200" dirty="0" err="1"/>
                <a:t>Pemahaman</a:t>
              </a:r>
              <a:r>
                <a:rPr lang="en-US" sz="2400" kern="1200" dirty="0"/>
                <a:t> </a:t>
              </a:r>
              <a:r>
                <a:rPr lang="en-US" sz="2400" dirty="0"/>
                <a:t>proses </a:t>
              </a:r>
              <a:r>
                <a:rPr lang="en-US" sz="2400" dirty="0" err="1"/>
                <a:t>bisnis</a:t>
              </a:r>
              <a:r>
                <a:rPr lang="en-US" sz="2400" dirty="0"/>
                <a:t> </a:t>
              </a:r>
              <a:r>
                <a:rPr lang="en-US" sz="2400" dirty="0" err="1"/>
                <a:t>atas</a:t>
              </a:r>
              <a:r>
                <a:rPr lang="en-US" sz="2400" dirty="0"/>
                <a:t> </a:t>
              </a:r>
              <a:r>
                <a:rPr lang="en-US" sz="2400" kern="1200" dirty="0" err="1"/>
                <a:t>evaluasi</a:t>
              </a:r>
              <a:r>
                <a:rPr lang="en-US" sz="2400" kern="1200" dirty="0"/>
                <a:t> </a:t>
              </a:r>
              <a:r>
                <a:rPr lang="en-US" sz="2400" kern="1200" dirty="0" err="1"/>
                <a:t>dari</a:t>
              </a:r>
              <a:r>
                <a:rPr lang="en-US" sz="2400" kern="1200" dirty="0"/>
                <a:t> Tim </a:t>
              </a:r>
              <a:r>
                <a:rPr lang="en-US" sz="2400" kern="1200" dirty="0" err="1"/>
                <a:t>Inspektorat</a:t>
              </a:r>
              <a:r>
                <a:rPr lang="en-US" sz="2400" kern="1200" dirty="0"/>
                <a:t> V</a:t>
              </a:r>
            </a:p>
            <a:p>
              <a:pPr marL="228600" lvl="1" indent="-228600" algn="l" defTabSz="1155700">
                <a:lnSpc>
                  <a:spcPct val="90000"/>
                </a:lnSpc>
                <a:spcBef>
                  <a:spcPct val="0"/>
                </a:spcBef>
                <a:spcAft>
                  <a:spcPct val="15000"/>
                </a:spcAft>
                <a:buChar char="•"/>
              </a:pPr>
              <a:r>
                <a:rPr lang="en-US" sz="2400" kern="1200" dirty="0"/>
                <a:t>Data </a:t>
              </a:r>
              <a:r>
                <a:rPr lang="en-US" sz="2400" kern="1200" dirty="0" err="1"/>
                <a:t>perencanaan</a:t>
              </a:r>
              <a:r>
                <a:rPr lang="en-US" sz="2400" kern="1200" dirty="0"/>
                <a:t> </a:t>
              </a:r>
              <a:r>
                <a:rPr lang="en-US" sz="2400" kern="1200" dirty="0" err="1"/>
                <a:t>diperoleh</a:t>
              </a:r>
              <a:r>
                <a:rPr lang="en-US" sz="2400" kern="1200" dirty="0"/>
                <a:t> </a:t>
              </a:r>
              <a:r>
                <a:rPr lang="en-US" sz="2400" kern="1200" dirty="0" err="1"/>
                <a:t>dari</a:t>
              </a:r>
              <a:r>
                <a:rPr lang="en-US" sz="2400" kern="1200" dirty="0"/>
                <a:t> </a:t>
              </a:r>
              <a:r>
                <a:rPr lang="en-US" sz="2400" kern="1200" dirty="0" err="1"/>
                <a:t>Inspektorat</a:t>
              </a:r>
              <a:r>
                <a:rPr lang="en-US" sz="2400" kern="1200" dirty="0"/>
                <a:t> V (</a:t>
              </a:r>
              <a:r>
                <a:rPr lang="en-US" sz="2400" kern="1200" dirty="0" err="1"/>
                <a:t>aliran</a:t>
              </a:r>
              <a:r>
                <a:rPr lang="en-US" sz="2400" kern="1200" dirty="0"/>
                <a:t> data SLDK)</a:t>
              </a:r>
              <a:endParaRPr lang="en-US" sz="2400" kern="1200" dirty="0">
                <a:solidFill>
                  <a:srgbClr val="FF0000"/>
                </a:solidFill>
              </a:endParaRPr>
            </a:p>
          </p:txBody>
        </p:sp>
      </p:grpSp>
      <p:pic>
        <p:nvPicPr>
          <p:cNvPr id="12" name="table">
            <a:extLst>
              <a:ext uri="{FF2B5EF4-FFF2-40B4-BE49-F238E27FC236}">
                <a16:creationId xmlns:a16="http://schemas.microsoft.com/office/drawing/2014/main" id="{653728F2-3707-F6CB-C16D-22DDC09038F6}"/>
              </a:ext>
            </a:extLst>
          </p:cNvPr>
          <p:cNvPicPr>
            <a:picLocks noChangeAspect="1"/>
          </p:cNvPicPr>
          <p:nvPr/>
        </p:nvPicPr>
        <p:blipFill>
          <a:blip r:embed="rId4"/>
          <a:stretch>
            <a:fillRect/>
          </a:stretch>
        </p:blipFill>
        <p:spPr>
          <a:xfrm>
            <a:off x="1620101" y="2858832"/>
            <a:ext cx="2189613" cy="1804368"/>
          </a:xfrm>
          <a:prstGeom prst="rect">
            <a:avLst/>
          </a:prstGeom>
        </p:spPr>
      </p:pic>
    </p:spTree>
    <p:extLst>
      <p:ext uri="{BB962C8B-B14F-4D97-AF65-F5344CB8AC3E}">
        <p14:creationId xmlns:p14="http://schemas.microsoft.com/office/powerpoint/2010/main" val="676070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62639C-FBAE-4D24-B4F4-474CE4E9AA4B}"/>
              </a:ext>
            </a:extLst>
          </p:cNvPr>
          <p:cNvGrpSpPr/>
          <p:nvPr/>
        </p:nvGrpSpPr>
        <p:grpSpPr>
          <a:xfrm>
            <a:off x="572841" y="359209"/>
            <a:ext cx="11046318" cy="5937711"/>
            <a:chOff x="460504" y="791171"/>
            <a:chExt cx="8284739" cy="4453283"/>
          </a:xfrm>
        </p:grpSpPr>
        <p:sp>
          <p:nvSpPr>
            <p:cNvPr id="88" name="TextBox 87">
              <a:extLst>
                <a:ext uri="{FF2B5EF4-FFF2-40B4-BE49-F238E27FC236}">
                  <a16:creationId xmlns:a16="http://schemas.microsoft.com/office/drawing/2014/main" id="{A34321B6-EA97-4D15-B96C-9A2D12A691B1}"/>
                </a:ext>
              </a:extLst>
            </p:cNvPr>
            <p:cNvSpPr txBox="1"/>
            <p:nvPr/>
          </p:nvSpPr>
          <p:spPr>
            <a:xfrm>
              <a:off x="7220356" y="793661"/>
              <a:ext cx="1473640" cy="300082"/>
            </a:xfrm>
            <a:prstGeom prst="rect">
              <a:avLst/>
            </a:prstGeom>
            <a:noFill/>
          </p:spPr>
          <p:txBody>
            <a:bodyPr wrap="square" rtlCol="0" anchor="ctr">
              <a:spAutoFit/>
            </a:bodyPr>
            <a:lstStyle/>
            <a:p>
              <a:pPr algn="ctr"/>
              <a:r>
                <a:rPr lang="en-US" altLang="ko-KR" sz="2000" b="1" dirty="0">
                  <a:latin typeface="Montserrat" panose="00000500000000000000" pitchFamily="2" charset="0"/>
                  <a:cs typeface="Arial" pitchFamily="34" charset="0"/>
                </a:rPr>
                <a:t>2025</a:t>
              </a:r>
              <a:endParaRPr lang="ko-KR" altLang="en-US" sz="2000" b="1" dirty="0">
                <a:latin typeface="Montserrat" panose="00000500000000000000" pitchFamily="2" charset="0"/>
                <a:cs typeface="Arial" pitchFamily="34" charset="0"/>
              </a:endParaRPr>
            </a:p>
          </p:txBody>
        </p:sp>
        <p:pic>
          <p:nvPicPr>
            <p:cNvPr id="56" name="Picture 2" descr="ESTADISTICA E INVESTIGACION CIENTIFICA: Data besar dalam hidup: Dari  Megabytes ke Zetabytes, jalur yang dipercepat.">
              <a:extLst>
                <a:ext uri="{FF2B5EF4-FFF2-40B4-BE49-F238E27FC236}">
                  <a16:creationId xmlns:a16="http://schemas.microsoft.com/office/drawing/2014/main" id="{75A114DA-BD9F-4565-A5DE-DE0C30F7C25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331" t="19628" r="9481" b="11056"/>
            <a:stretch/>
          </p:blipFill>
          <p:spPr bwMode="auto">
            <a:xfrm>
              <a:off x="744705" y="3281433"/>
              <a:ext cx="2358995" cy="1963021"/>
            </a:xfrm>
            <a:prstGeom prst="round2DiagRect">
              <a:avLst>
                <a:gd name="adj1" fmla="val 0"/>
                <a:gd name="adj2" fmla="val 16616"/>
              </a:avLst>
            </a:prstGeom>
            <a:ln w="88900" cap="sq">
              <a:solidFill>
                <a:srgbClr val="FFFFFF"/>
              </a:solidFill>
              <a:miter lim="800000"/>
            </a:ln>
            <a:effectLst/>
            <a:extLst>
              <a:ext uri="{909E8E84-426E-40DD-AFC4-6F175D3DCCD1}">
                <a14:hiddenFill xmlns:a14="http://schemas.microsoft.com/office/drawing/2010/main">
                  <a:solidFill>
                    <a:srgbClr val="FFFFFF"/>
                  </a:solidFill>
                </a14:hiddenFill>
              </a:ext>
            </a:extLst>
          </p:spPr>
        </p:pic>
        <p:grpSp>
          <p:nvGrpSpPr>
            <p:cNvPr id="57" name="Group 56">
              <a:extLst>
                <a:ext uri="{FF2B5EF4-FFF2-40B4-BE49-F238E27FC236}">
                  <a16:creationId xmlns:a16="http://schemas.microsoft.com/office/drawing/2014/main" id="{5CCD1881-C920-4F29-9D1A-9AF8E17A85B1}"/>
                </a:ext>
              </a:extLst>
            </p:cNvPr>
            <p:cNvGrpSpPr/>
            <p:nvPr/>
          </p:nvGrpSpPr>
          <p:grpSpPr>
            <a:xfrm>
              <a:off x="899331" y="1167102"/>
              <a:ext cx="314962" cy="314962"/>
              <a:chOff x="2037500" y="3040187"/>
              <a:chExt cx="419949" cy="419949"/>
            </a:xfrm>
            <a:solidFill>
              <a:schemeClr val="accent5"/>
            </a:solidFill>
          </p:grpSpPr>
          <p:sp>
            <p:nvSpPr>
              <p:cNvPr id="58" name="Circle: Hollow 57">
                <a:extLst>
                  <a:ext uri="{FF2B5EF4-FFF2-40B4-BE49-F238E27FC236}">
                    <a16:creationId xmlns:a16="http://schemas.microsoft.com/office/drawing/2014/main" id="{DA841B7E-09E7-4220-8AB2-757D0844CFA1}"/>
                  </a:ext>
                </a:extLst>
              </p:cNvPr>
              <p:cNvSpPr/>
              <p:nvPr/>
            </p:nvSpPr>
            <p:spPr>
              <a:xfrm>
                <a:off x="2037500" y="3040187"/>
                <a:ext cx="419949" cy="419949"/>
              </a:xfrm>
              <a:prstGeom prst="donut">
                <a:avLst>
                  <a:gd name="adj" fmla="val 11391"/>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Oval 58">
                <a:extLst>
                  <a:ext uri="{FF2B5EF4-FFF2-40B4-BE49-F238E27FC236}">
                    <a16:creationId xmlns:a16="http://schemas.microsoft.com/office/drawing/2014/main" id="{6DC583EC-12F3-46CF-9DE1-6CFE0EC84AF8}"/>
                  </a:ext>
                </a:extLst>
              </p:cNvPr>
              <p:cNvSpPr/>
              <p:nvPr/>
            </p:nvSpPr>
            <p:spPr>
              <a:xfrm>
                <a:off x="2133174" y="3135861"/>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0" name="Rectangle 59">
              <a:extLst>
                <a:ext uri="{FF2B5EF4-FFF2-40B4-BE49-F238E27FC236}">
                  <a16:creationId xmlns:a16="http://schemas.microsoft.com/office/drawing/2014/main" id="{A456DD0D-6721-4D9C-AF01-27AF4528106A}"/>
                </a:ext>
              </a:extLst>
            </p:cNvPr>
            <p:cNvSpPr/>
            <p:nvPr/>
          </p:nvSpPr>
          <p:spPr>
            <a:xfrm>
              <a:off x="1064886" y="1167102"/>
              <a:ext cx="6892290" cy="3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extLst>
                <a:ext uri="{FF2B5EF4-FFF2-40B4-BE49-F238E27FC236}">
                  <a16:creationId xmlns:a16="http://schemas.microsoft.com/office/drawing/2014/main" id="{6725D20C-8705-4481-B25C-85A567CE4217}"/>
                </a:ext>
              </a:extLst>
            </p:cNvPr>
            <p:cNvSpPr/>
            <p:nvPr/>
          </p:nvSpPr>
          <p:spPr>
            <a:xfrm>
              <a:off x="1064886" y="1446345"/>
              <a:ext cx="6892290" cy="3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62" name="Group 61">
              <a:extLst>
                <a:ext uri="{FF2B5EF4-FFF2-40B4-BE49-F238E27FC236}">
                  <a16:creationId xmlns:a16="http://schemas.microsoft.com/office/drawing/2014/main" id="{BC0D2725-E39A-4756-8A74-1F9DEA5BADC9}"/>
                </a:ext>
              </a:extLst>
            </p:cNvPr>
            <p:cNvGrpSpPr/>
            <p:nvPr/>
          </p:nvGrpSpPr>
          <p:grpSpPr>
            <a:xfrm>
              <a:off x="7782052" y="1173664"/>
              <a:ext cx="314962" cy="314962"/>
              <a:chOff x="2037500" y="3040187"/>
              <a:chExt cx="419949" cy="419949"/>
            </a:xfrm>
            <a:solidFill>
              <a:schemeClr val="accent5"/>
            </a:solidFill>
          </p:grpSpPr>
          <p:sp>
            <p:nvSpPr>
              <p:cNvPr id="63" name="Circle: Hollow 62">
                <a:extLst>
                  <a:ext uri="{FF2B5EF4-FFF2-40B4-BE49-F238E27FC236}">
                    <a16:creationId xmlns:a16="http://schemas.microsoft.com/office/drawing/2014/main" id="{F3531C4D-F2C8-4D25-923C-1BF689E84475}"/>
                  </a:ext>
                </a:extLst>
              </p:cNvPr>
              <p:cNvSpPr/>
              <p:nvPr/>
            </p:nvSpPr>
            <p:spPr>
              <a:xfrm>
                <a:off x="2037500" y="3040187"/>
                <a:ext cx="419949" cy="419949"/>
              </a:xfrm>
              <a:prstGeom prst="donut">
                <a:avLst>
                  <a:gd name="adj" fmla="val 11391"/>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Oval 63">
                <a:extLst>
                  <a:ext uri="{FF2B5EF4-FFF2-40B4-BE49-F238E27FC236}">
                    <a16:creationId xmlns:a16="http://schemas.microsoft.com/office/drawing/2014/main" id="{105080C4-27C4-4D2A-A526-38CB94282AB8}"/>
                  </a:ext>
                </a:extLst>
              </p:cNvPr>
              <p:cNvSpPr/>
              <p:nvPr/>
            </p:nvSpPr>
            <p:spPr>
              <a:xfrm>
                <a:off x="2133174" y="3135861"/>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5" name="Oval 7">
              <a:extLst>
                <a:ext uri="{FF2B5EF4-FFF2-40B4-BE49-F238E27FC236}">
                  <a16:creationId xmlns:a16="http://schemas.microsoft.com/office/drawing/2014/main" id="{558F0769-F4FA-4FA8-B555-E7CBFA198BE7}"/>
                </a:ext>
              </a:extLst>
            </p:cNvPr>
            <p:cNvSpPr/>
            <p:nvPr/>
          </p:nvSpPr>
          <p:spPr>
            <a:xfrm>
              <a:off x="4386071" y="1205054"/>
              <a:ext cx="216000" cy="216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66" name="Oval 8">
              <a:extLst>
                <a:ext uri="{FF2B5EF4-FFF2-40B4-BE49-F238E27FC236}">
                  <a16:creationId xmlns:a16="http://schemas.microsoft.com/office/drawing/2014/main" id="{8C549FFD-C439-4061-9406-6A7DE89B9694}"/>
                </a:ext>
              </a:extLst>
            </p:cNvPr>
            <p:cNvSpPr/>
            <p:nvPr/>
          </p:nvSpPr>
          <p:spPr>
            <a:xfrm>
              <a:off x="5536811" y="1205054"/>
              <a:ext cx="216000" cy="216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67" name="Oval 9">
              <a:extLst>
                <a:ext uri="{FF2B5EF4-FFF2-40B4-BE49-F238E27FC236}">
                  <a16:creationId xmlns:a16="http://schemas.microsoft.com/office/drawing/2014/main" id="{B3FC9EB3-07D9-4365-A5BD-F31A345D9807}"/>
                </a:ext>
              </a:extLst>
            </p:cNvPr>
            <p:cNvSpPr/>
            <p:nvPr/>
          </p:nvSpPr>
          <p:spPr>
            <a:xfrm>
              <a:off x="6687550" y="1205054"/>
              <a:ext cx="216000" cy="2160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68" name="Oval 12">
              <a:extLst>
                <a:ext uri="{FF2B5EF4-FFF2-40B4-BE49-F238E27FC236}">
                  <a16:creationId xmlns:a16="http://schemas.microsoft.com/office/drawing/2014/main" id="{8061D041-9E2B-4E6E-886E-3CF9AB187885}"/>
                </a:ext>
              </a:extLst>
            </p:cNvPr>
            <p:cNvSpPr/>
            <p:nvPr/>
          </p:nvSpPr>
          <p:spPr>
            <a:xfrm>
              <a:off x="2084593" y="1205054"/>
              <a:ext cx="216000" cy="2160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69" name="Oval 13">
              <a:extLst>
                <a:ext uri="{FF2B5EF4-FFF2-40B4-BE49-F238E27FC236}">
                  <a16:creationId xmlns:a16="http://schemas.microsoft.com/office/drawing/2014/main" id="{4108640F-E631-40D5-92F5-6E0DE3B4E4F2}"/>
                </a:ext>
              </a:extLst>
            </p:cNvPr>
            <p:cNvSpPr/>
            <p:nvPr/>
          </p:nvSpPr>
          <p:spPr>
            <a:xfrm>
              <a:off x="3235332" y="1205054"/>
              <a:ext cx="216000" cy="216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70" name="Oval 113">
              <a:extLst>
                <a:ext uri="{FF2B5EF4-FFF2-40B4-BE49-F238E27FC236}">
                  <a16:creationId xmlns:a16="http://schemas.microsoft.com/office/drawing/2014/main" id="{0872E264-F667-4256-AE14-E89E99A69A83}"/>
                </a:ext>
              </a:extLst>
            </p:cNvPr>
            <p:cNvSpPr/>
            <p:nvPr/>
          </p:nvSpPr>
          <p:spPr>
            <a:xfrm>
              <a:off x="3086832" y="1727450"/>
              <a:ext cx="513000" cy="513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71" name="TextBox 70">
              <a:extLst>
                <a:ext uri="{FF2B5EF4-FFF2-40B4-BE49-F238E27FC236}">
                  <a16:creationId xmlns:a16="http://schemas.microsoft.com/office/drawing/2014/main" id="{356E7A40-0E0D-49E2-91AB-9FCC7DE79791}"/>
                </a:ext>
              </a:extLst>
            </p:cNvPr>
            <p:cNvSpPr txBox="1"/>
            <p:nvPr/>
          </p:nvSpPr>
          <p:spPr>
            <a:xfrm>
              <a:off x="2744473" y="2263466"/>
              <a:ext cx="1162700" cy="553998"/>
            </a:xfrm>
            <a:prstGeom prst="rect">
              <a:avLst/>
            </a:prstGeom>
            <a:noFill/>
          </p:spPr>
          <p:txBody>
            <a:bodyPr wrap="square" rtlCol="0" anchor="ctr">
              <a:spAutoFit/>
            </a:bodyPr>
            <a:lstStyle/>
            <a:p>
              <a:pPr algn="ctr"/>
              <a:r>
                <a:rPr lang="en-US" altLang="ko-KR" b="1" dirty="0">
                  <a:latin typeface="Montserrat" panose="00000500000000000000" pitchFamily="2" charset="0"/>
                  <a:cs typeface="Arial" pitchFamily="34" charset="0"/>
                </a:rPr>
                <a:t>90% data created in 2011-2012</a:t>
              </a:r>
              <a:endParaRPr lang="ko-KR" altLang="en-US" b="1" dirty="0">
                <a:latin typeface="Montserrat" panose="00000500000000000000" pitchFamily="2" charset="0"/>
                <a:cs typeface="Arial" pitchFamily="34" charset="0"/>
              </a:endParaRPr>
            </a:p>
          </p:txBody>
        </p:sp>
        <p:cxnSp>
          <p:nvCxnSpPr>
            <p:cNvPr id="72" name="Straight Arrow Connector 115">
              <a:extLst>
                <a:ext uri="{FF2B5EF4-FFF2-40B4-BE49-F238E27FC236}">
                  <a16:creationId xmlns:a16="http://schemas.microsoft.com/office/drawing/2014/main" id="{BC1C1BB0-4D61-49C4-9BF7-0DD538D7E805}"/>
                </a:ext>
              </a:extLst>
            </p:cNvPr>
            <p:cNvCxnSpPr>
              <a:cxnSpLocks/>
            </p:cNvCxnSpPr>
            <p:nvPr/>
          </p:nvCxnSpPr>
          <p:spPr>
            <a:xfrm flipV="1">
              <a:off x="3343332" y="1507027"/>
              <a:ext cx="0" cy="220424"/>
            </a:xfrm>
            <a:prstGeom prst="straightConnector1">
              <a:avLst/>
            </a:prstGeom>
            <a:ln w="254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73" name="Oval 119">
              <a:extLst>
                <a:ext uri="{FF2B5EF4-FFF2-40B4-BE49-F238E27FC236}">
                  <a16:creationId xmlns:a16="http://schemas.microsoft.com/office/drawing/2014/main" id="{2909F385-6D32-4360-8378-61BEBE2A5B4F}"/>
                </a:ext>
              </a:extLst>
            </p:cNvPr>
            <p:cNvSpPr/>
            <p:nvPr/>
          </p:nvSpPr>
          <p:spPr>
            <a:xfrm>
              <a:off x="5388311" y="1728319"/>
              <a:ext cx="513000" cy="513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74" name="TextBox 73">
              <a:extLst>
                <a:ext uri="{FF2B5EF4-FFF2-40B4-BE49-F238E27FC236}">
                  <a16:creationId xmlns:a16="http://schemas.microsoft.com/office/drawing/2014/main" id="{12F00AC5-19CF-4A3A-9707-8C75580D8BF2}"/>
                </a:ext>
              </a:extLst>
            </p:cNvPr>
            <p:cNvSpPr txBox="1"/>
            <p:nvPr/>
          </p:nvSpPr>
          <p:spPr>
            <a:xfrm>
              <a:off x="4921580" y="2582441"/>
              <a:ext cx="1531812" cy="1200328"/>
            </a:xfrm>
            <a:prstGeom prst="rect">
              <a:avLst/>
            </a:prstGeom>
            <a:noFill/>
          </p:spPr>
          <p:txBody>
            <a:bodyPr wrap="square" rtlCol="0" anchor="ctr">
              <a:spAutoFit/>
            </a:bodyPr>
            <a:lstStyle/>
            <a:p>
              <a:pPr algn="ctr"/>
              <a:r>
                <a:rPr lang="en-US" altLang="ko-KR" b="1" dirty="0">
                  <a:latin typeface="Montserrat" panose="00000500000000000000" pitchFamily="2" charset="0"/>
                  <a:cs typeface="Arial" pitchFamily="34" charset="0"/>
                </a:rPr>
                <a:t>IN A MINUTE</a:t>
              </a:r>
            </a:p>
            <a:p>
              <a:pPr algn="ctr"/>
              <a:r>
                <a:rPr lang="en-US" altLang="ko-KR" dirty="0">
                  <a:latin typeface="Montserrat" panose="00000500000000000000" pitchFamily="2" charset="0"/>
                  <a:cs typeface="Arial" pitchFamily="34" charset="0"/>
                </a:rPr>
                <a:t>188M emails</a:t>
              </a:r>
            </a:p>
            <a:p>
              <a:pPr algn="ctr"/>
              <a:r>
                <a:rPr lang="en-US" altLang="ko-KR" dirty="0">
                  <a:latin typeface="Montserrat" panose="00000500000000000000" pitchFamily="2" charset="0"/>
                  <a:cs typeface="Arial" pitchFamily="34" charset="0"/>
                </a:rPr>
                <a:t>4,5M videos</a:t>
              </a:r>
            </a:p>
            <a:p>
              <a:pPr algn="ctr"/>
              <a:r>
                <a:rPr lang="en-US" altLang="ko-KR" dirty="0">
                  <a:latin typeface="Montserrat" panose="00000500000000000000" pitchFamily="2" charset="0"/>
                  <a:cs typeface="Arial" pitchFamily="34" charset="0"/>
                </a:rPr>
                <a:t>500hours video uploaded’</a:t>
              </a:r>
            </a:p>
            <a:p>
              <a:pPr algn="ctr"/>
              <a:r>
                <a:rPr lang="en-US" altLang="ko-KR" dirty="0">
                  <a:latin typeface="Montserrat" panose="00000500000000000000" pitchFamily="2" charset="0"/>
                  <a:cs typeface="Arial" pitchFamily="34" charset="0"/>
                </a:rPr>
                <a:t>347K users scrolling Instagram</a:t>
              </a:r>
            </a:p>
          </p:txBody>
        </p:sp>
        <p:cxnSp>
          <p:nvCxnSpPr>
            <p:cNvPr id="75" name="Straight Arrow Connector 121">
              <a:extLst>
                <a:ext uri="{FF2B5EF4-FFF2-40B4-BE49-F238E27FC236}">
                  <a16:creationId xmlns:a16="http://schemas.microsoft.com/office/drawing/2014/main" id="{8C2BF051-C1D6-4BF7-BE3D-E3E87C3EBAED}"/>
                </a:ext>
              </a:extLst>
            </p:cNvPr>
            <p:cNvCxnSpPr>
              <a:cxnSpLocks/>
            </p:cNvCxnSpPr>
            <p:nvPr/>
          </p:nvCxnSpPr>
          <p:spPr>
            <a:xfrm flipV="1">
              <a:off x="5644811" y="1463940"/>
              <a:ext cx="0" cy="264379"/>
            </a:xfrm>
            <a:prstGeom prst="straightConnector1">
              <a:avLst/>
            </a:prstGeom>
            <a:ln w="254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76" name="Oval 125">
              <a:extLst>
                <a:ext uri="{FF2B5EF4-FFF2-40B4-BE49-F238E27FC236}">
                  <a16:creationId xmlns:a16="http://schemas.microsoft.com/office/drawing/2014/main" id="{18D86726-1DCA-4E28-8BA8-591308758FFC}"/>
                </a:ext>
              </a:extLst>
            </p:cNvPr>
            <p:cNvSpPr/>
            <p:nvPr/>
          </p:nvSpPr>
          <p:spPr>
            <a:xfrm>
              <a:off x="7689787" y="1729187"/>
              <a:ext cx="513000" cy="513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77" name="TextBox 76">
              <a:extLst>
                <a:ext uri="{FF2B5EF4-FFF2-40B4-BE49-F238E27FC236}">
                  <a16:creationId xmlns:a16="http://schemas.microsoft.com/office/drawing/2014/main" id="{B672B548-B2A6-4CA8-BA42-939580282239}"/>
                </a:ext>
              </a:extLst>
            </p:cNvPr>
            <p:cNvSpPr txBox="1"/>
            <p:nvPr/>
          </p:nvSpPr>
          <p:spPr>
            <a:xfrm>
              <a:off x="7364937" y="2248642"/>
              <a:ext cx="1028782" cy="392415"/>
            </a:xfrm>
            <a:prstGeom prst="rect">
              <a:avLst/>
            </a:prstGeom>
            <a:noFill/>
          </p:spPr>
          <p:txBody>
            <a:bodyPr wrap="square" rtlCol="0" anchor="ctr">
              <a:spAutoFit/>
            </a:bodyPr>
            <a:lstStyle/>
            <a:p>
              <a:pPr algn="ctr"/>
              <a:r>
                <a:rPr lang="en-US" altLang="ko-KR" b="1" dirty="0">
                  <a:latin typeface="Montserrat" panose="00000500000000000000" pitchFamily="2" charset="0"/>
                  <a:cs typeface="Arial" pitchFamily="34" charset="0"/>
                </a:rPr>
                <a:t>168 ZB created</a:t>
              </a:r>
              <a:endParaRPr lang="ko-KR" altLang="en-US" b="1" dirty="0">
                <a:latin typeface="Montserrat" panose="00000500000000000000" pitchFamily="2" charset="0"/>
                <a:cs typeface="Arial" pitchFamily="34" charset="0"/>
              </a:endParaRPr>
            </a:p>
          </p:txBody>
        </p:sp>
        <p:cxnSp>
          <p:nvCxnSpPr>
            <p:cNvPr id="78" name="Straight Arrow Connector 127">
              <a:extLst>
                <a:ext uri="{FF2B5EF4-FFF2-40B4-BE49-F238E27FC236}">
                  <a16:creationId xmlns:a16="http://schemas.microsoft.com/office/drawing/2014/main" id="{506C5CDA-B688-4140-8524-A0F37034344B}"/>
                </a:ext>
              </a:extLst>
            </p:cNvPr>
            <p:cNvCxnSpPr/>
            <p:nvPr/>
          </p:nvCxnSpPr>
          <p:spPr>
            <a:xfrm flipH="1" flipV="1">
              <a:off x="7944569" y="1518355"/>
              <a:ext cx="3435" cy="210833"/>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79" name="Oval 131">
              <a:extLst>
                <a:ext uri="{FF2B5EF4-FFF2-40B4-BE49-F238E27FC236}">
                  <a16:creationId xmlns:a16="http://schemas.microsoft.com/office/drawing/2014/main" id="{D3C1A7ED-E400-4DF3-874C-F7E82EA78E6B}"/>
                </a:ext>
              </a:extLst>
            </p:cNvPr>
            <p:cNvSpPr/>
            <p:nvPr/>
          </p:nvSpPr>
          <p:spPr>
            <a:xfrm>
              <a:off x="1928101" y="2117443"/>
              <a:ext cx="513000" cy="513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80" name="TextBox 79">
              <a:extLst>
                <a:ext uri="{FF2B5EF4-FFF2-40B4-BE49-F238E27FC236}">
                  <a16:creationId xmlns:a16="http://schemas.microsoft.com/office/drawing/2014/main" id="{6E0741C3-5B1D-465A-B36B-09C3231D73A7}"/>
                </a:ext>
              </a:extLst>
            </p:cNvPr>
            <p:cNvSpPr txBox="1"/>
            <p:nvPr/>
          </p:nvSpPr>
          <p:spPr>
            <a:xfrm>
              <a:off x="1591754" y="2700105"/>
              <a:ext cx="1162700" cy="392415"/>
            </a:xfrm>
            <a:prstGeom prst="rect">
              <a:avLst/>
            </a:prstGeom>
            <a:noFill/>
          </p:spPr>
          <p:txBody>
            <a:bodyPr wrap="square" rtlCol="0" anchor="ctr">
              <a:spAutoFit/>
            </a:bodyPr>
            <a:lstStyle/>
            <a:p>
              <a:pPr algn="ctr"/>
              <a:r>
                <a:rPr lang="en-US" altLang="ko-KR" b="1" dirty="0">
                  <a:latin typeface="Montserrat" panose="00000500000000000000" pitchFamily="2" charset="0"/>
                  <a:cs typeface="Arial" pitchFamily="34" charset="0"/>
                </a:rPr>
                <a:t>2 ZB data created</a:t>
              </a:r>
              <a:endParaRPr lang="ko-KR" altLang="en-US" b="1" dirty="0">
                <a:latin typeface="Montserrat" panose="00000500000000000000" pitchFamily="2" charset="0"/>
                <a:cs typeface="Arial" pitchFamily="34" charset="0"/>
              </a:endParaRPr>
            </a:p>
          </p:txBody>
        </p:sp>
        <p:cxnSp>
          <p:nvCxnSpPr>
            <p:cNvPr id="81" name="Straight Arrow Connector 133">
              <a:extLst>
                <a:ext uri="{FF2B5EF4-FFF2-40B4-BE49-F238E27FC236}">
                  <a16:creationId xmlns:a16="http://schemas.microsoft.com/office/drawing/2014/main" id="{B1A892D6-ABF5-4D8F-830F-FC51F461FB60}"/>
                </a:ext>
              </a:extLst>
            </p:cNvPr>
            <p:cNvCxnSpPr>
              <a:cxnSpLocks/>
            </p:cNvCxnSpPr>
            <p:nvPr/>
          </p:nvCxnSpPr>
          <p:spPr>
            <a:xfrm flipV="1">
              <a:off x="2192593" y="1507027"/>
              <a:ext cx="0" cy="1028700"/>
            </a:xfrm>
            <a:prstGeom prst="straightConnector1">
              <a:avLst/>
            </a:prstGeom>
            <a:ln w="25400">
              <a:solidFill>
                <a:schemeClr val="accent4"/>
              </a:solidFill>
              <a:tailEnd type="arrow"/>
            </a:ln>
          </p:spPr>
          <p:style>
            <a:lnRef idx="1">
              <a:schemeClr val="accent1"/>
            </a:lnRef>
            <a:fillRef idx="0">
              <a:schemeClr val="accent1"/>
            </a:fillRef>
            <a:effectRef idx="0">
              <a:schemeClr val="accent1"/>
            </a:effectRef>
            <a:fontRef idx="minor">
              <a:schemeClr val="tx1"/>
            </a:fontRef>
          </p:style>
        </p:cxnSp>
        <p:sp>
          <p:nvSpPr>
            <p:cNvPr id="82" name="Oval 150">
              <a:extLst>
                <a:ext uri="{FF2B5EF4-FFF2-40B4-BE49-F238E27FC236}">
                  <a16:creationId xmlns:a16="http://schemas.microsoft.com/office/drawing/2014/main" id="{25753E2B-48E9-415E-B545-A9E4FD19CBD3}"/>
                </a:ext>
              </a:extLst>
            </p:cNvPr>
            <p:cNvSpPr/>
            <p:nvPr/>
          </p:nvSpPr>
          <p:spPr>
            <a:xfrm>
              <a:off x="4237571" y="2482242"/>
              <a:ext cx="513000" cy="51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83" name="TextBox 82">
              <a:extLst>
                <a:ext uri="{FF2B5EF4-FFF2-40B4-BE49-F238E27FC236}">
                  <a16:creationId xmlns:a16="http://schemas.microsoft.com/office/drawing/2014/main" id="{4EE0FA86-49F0-458E-B78F-6A8D16789453}"/>
                </a:ext>
              </a:extLst>
            </p:cNvPr>
            <p:cNvSpPr txBox="1"/>
            <p:nvPr/>
          </p:nvSpPr>
          <p:spPr>
            <a:xfrm>
              <a:off x="3911867" y="3111215"/>
              <a:ext cx="1162700" cy="392415"/>
            </a:xfrm>
            <a:prstGeom prst="rect">
              <a:avLst/>
            </a:prstGeom>
            <a:noFill/>
          </p:spPr>
          <p:txBody>
            <a:bodyPr wrap="square" rtlCol="0" anchor="ctr">
              <a:spAutoFit/>
            </a:bodyPr>
            <a:lstStyle/>
            <a:p>
              <a:pPr algn="ctr"/>
              <a:r>
                <a:rPr lang="en-US" altLang="ko-KR" b="1" dirty="0">
                  <a:latin typeface="Montserrat" panose="00000500000000000000" pitchFamily="2" charset="0"/>
                  <a:cs typeface="Arial" pitchFamily="34" charset="0"/>
                </a:rPr>
                <a:t>33 ZB data created</a:t>
              </a:r>
            </a:p>
          </p:txBody>
        </p:sp>
        <p:cxnSp>
          <p:nvCxnSpPr>
            <p:cNvPr id="84" name="Straight Arrow Connector 152">
              <a:extLst>
                <a:ext uri="{FF2B5EF4-FFF2-40B4-BE49-F238E27FC236}">
                  <a16:creationId xmlns:a16="http://schemas.microsoft.com/office/drawing/2014/main" id="{36112322-668F-44B0-B7E4-AE6BF4D7C3E9}"/>
                </a:ext>
              </a:extLst>
            </p:cNvPr>
            <p:cNvCxnSpPr/>
            <p:nvPr/>
          </p:nvCxnSpPr>
          <p:spPr>
            <a:xfrm flipV="1">
              <a:off x="4490134" y="1488194"/>
              <a:ext cx="7877" cy="102870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85" name="Oval 156">
              <a:extLst>
                <a:ext uri="{FF2B5EF4-FFF2-40B4-BE49-F238E27FC236}">
                  <a16:creationId xmlns:a16="http://schemas.microsoft.com/office/drawing/2014/main" id="{4A2B6DEF-F2D0-4893-AE43-68029B67D7E5}"/>
                </a:ext>
              </a:extLst>
            </p:cNvPr>
            <p:cNvSpPr/>
            <p:nvPr/>
          </p:nvSpPr>
          <p:spPr>
            <a:xfrm>
              <a:off x="6539050" y="2479635"/>
              <a:ext cx="513000" cy="513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86" name="TextBox 85">
              <a:extLst>
                <a:ext uri="{FF2B5EF4-FFF2-40B4-BE49-F238E27FC236}">
                  <a16:creationId xmlns:a16="http://schemas.microsoft.com/office/drawing/2014/main" id="{EA976467-7D10-432F-9376-C90548DACEBC}"/>
                </a:ext>
              </a:extLst>
            </p:cNvPr>
            <p:cNvSpPr txBox="1"/>
            <p:nvPr/>
          </p:nvSpPr>
          <p:spPr>
            <a:xfrm>
              <a:off x="6194130" y="3050126"/>
              <a:ext cx="1162700" cy="553998"/>
            </a:xfrm>
            <a:prstGeom prst="rect">
              <a:avLst/>
            </a:prstGeom>
            <a:noFill/>
          </p:spPr>
          <p:txBody>
            <a:bodyPr wrap="square" rtlCol="0" anchor="ctr">
              <a:spAutoFit/>
            </a:bodyPr>
            <a:lstStyle/>
            <a:p>
              <a:pPr algn="ctr"/>
              <a:r>
                <a:rPr lang="en-US" altLang="ko-KR" b="1" dirty="0">
                  <a:latin typeface="Montserrat" panose="00000500000000000000" pitchFamily="2" charset="0"/>
                  <a:cs typeface="Arial" pitchFamily="34" charset="0"/>
                </a:rPr>
                <a:t>47 ZB data created</a:t>
              </a:r>
            </a:p>
            <a:p>
              <a:pPr algn="ctr"/>
              <a:endParaRPr lang="en-US" altLang="ko-KR" b="1" dirty="0">
                <a:latin typeface="Montserrat" panose="00000500000000000000" pitchFamily="2" charset="0"/>
                <a:cs typeface="Arial" pitchFamily="34" charset="0"/>
              </a:endParaRPr>
            </a:p>
          </p:txBody>
        </p:sp>
        <p:cxnSp>
          <p:nvCxnSpPr>
            <p:cNvPr id="87" name="Straight Arrow Connector 158">
              <a:extLst>
                <a:ext uri="{FF2B5EF4-FFF2-40B4-BE49-F238E27FC236}">
                  <a16:creationId xmlns:a16="http://schemas.microsoft.com/office/drawing/2014/main" id="{CF515F68-9055-4DC6-BC44-0F2BE19C465E}"/>
                </a:ext>
              </a:extLst>
            </p:cNvPr>
            <p:cNvCxnSpPr>
              <a:cxnSpLocks/>
            </p:cNvCxnSpPr>
            <p:nvPr/>
          </p:nvCxnSpPr>
          <p:spPr>
            <a:xfrm flipH="1" flipV="1">
              <a:off x="6794692" y="1507027"/>
              <a:ext cx="1716" cy="1028700"/>
            </a:xfrm>
            <a:prstGeom prst="straightConnector1">
              <a:avLst/>
            </a:prstGeom>
            <a:ln w="25400">
              <a:solidFill>
                <a:schemeClr val="accent4"/>
              </a:solidFill>
              <a:tailEnd type="arrow"/>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4B453E00-EC1F-4FEB-8464-8E4234C507CC}"/>
                </a:ext>
              </a:extLst>
            </p:cNvPr>
            <p:cNvSpPr txBox="1"/>
            <p:nvPr/>
          </p:nvSpPr>
          <p:spPr>
            <a:xfrm>
              <a:off x="6445795" y="791171"/>
              <a:ext cx="699509" cy="300082"/>
            </a:xfrm>
            <a:prstGeom prst="rect">
              <a:avLst/>
            </a:prstGeom>
            <a:noFill/>
          </p:spPr>
          <p:txBody>
            <a:bodyPr wrap="square" rtlCol="0" anchor="ctr">
              <a:spAutoFit/>
            </a:bodyPr>
            <a:lstStyle/>
            <a:p>
              <a:pPr algn="ctr"/>
              <a:r>
                <a:rPr lang="en-US" altLang="ko-KR" sz="2000" b="1" dirty="0">
                  <a:latin typeface="Montserrat" panose="00000500000000000000" pitchFamily="2" charset="0"/>
                  <a:cs typeface="Arial" pitchFamily="34" charset="0"/>
                </a:rPr>
                <a:t>2020</a:t>
              </a:r>
              <a:endParaRPr lang="ko-KR" altLang="en-US" sz="2000" b="1" dirty="0">
                <a:latin typeface="Montserrat" panose="00000500000000000000" pitchFamily="2" charset="0"/>
                <a:cs typeface="Arial" pitchFamily="34" charset="0"/>
              </a:endParaRPr>
            </a:p>
          </p:txBody>
        </p:sp>
        <p:sp>
          <p:nvSpPr>
            <p:cNvPr id="90" name="TextBox 89">
              <a:extLst>
                <a:ext uri="{FF2B5EF4-FFF2-40B4-BE49-F238E27FC236}">
                  <a16:creationId xmlns:a16="http://schemas.microsoft.com/office/drawing/2014/main" id="{C84E894D-187D-490E-B1A2-9DE53A7594F5}"/>
                </a:ext>
              </a:extLst>
            </p:cNvPr>
            <p:cNvSpPr txBox="1"/>
            <p:nvPr/>
          </p:nvSpPr>
          <p:spPr>
            <a:xfrm>
              <a:off x="5295056" y="791171"/>
              <a:ext cx="699509" cy="300082"/>
            </a:xfrm>
            <a:prstGeom prst="rect">
              <a:avLst/>
            </a:prstGeom>
            <a:noFill/>
          </p:spPr>
          <p:txBody>
            <a:bodyPr wrap="square" rtlCol="0" anchor="ctr">
              <a:spAutoFit/>
            </a:bodyPr>
            <a:lstStyle/>
            <a:p>
              <a:pPr algn="ctr"/>
              <a:r>
                <a:rPr lang="en-US" altLang="ko-KR" sz="2000" b="1" dirty="0">
                  <a:latin typeface="Montserrat" panose="00000500000000000000" pitchFamily="2" charset="0"/>
                  <a:cs typeface="Arial" pitchFamily="34" charset="0"/>
                </a:rPr>
                <a:t>2019</a:t>
              </a:r>
              <a:endParaRPr lang="ko-KR" altLang="en-US" sz="2000" b="1" dirty="0">
                <a:latin typeface="Montserrat" panose="00000500000000000000" pitchFamily="2" charset="0"/>
                <a:cs typeface="Arial" pitchFamily="34" charset="0"/>
              </a:endParaRPr>
            </a:p>
          </p:txBody>
        </p:sp>
        <p:sp>
          <p:nvSpPr>
            <p:cNvPr id="91" name="TextBox 90">
              <a:extLst>
                <a:ext uri="{FF2B5EF4-FFF2-40B4-BE49-F238E27FC236}">
                  <a16:creationId xmlns:a16="http://schemas.microsoft.com/office/drawing/2014/main" id="{32BEAE97-2920-4E52-AB1F-113215CDFA9A}"/>
                </a:ext>
              </a:extLst>
            </p:cNvPr>
            <p:cNvSpPr txBox="1"/>
            <p:nvPr/>
          </p:nvSpPr>
          <p:spPr>
            <a:xfrm>
              <a:off x="4144317" y="791171"/>
              <a:ext cx="699509" cy="300082"/>
            </a:xfrm>
            <a:prstGeom prst="rect">
              <a:avLst/>
            </a:prstGeom>
            <a:noFill/>
          </p:spPr>
          <p:txBody>
            <a:bodyPr wrap="square" rtlCol="0" anchor="ctr">
              <a:spAutoFit/>
            </a:bodyPr>
            <a:lstStyle/>
            <a:p>
              <a:pPr algn="ctr"/>
              <a:r>
                <a:rPr lang="en-US" altLang="ko-KR" sz="2000" b="1" dirty="0">
                  <a:latin typeface="Montserrat" panose="00000500000000000000" pitchFamily="2" charset="0"/>
                  <a:cs typeface="Arial" pitchFamily="34" charset="0"/>
                </a:rPr>
                <a:t>2018</a:t>
              </a:r>
              <a:endParaRPr lang="ko-KR" altLang="en-US" sz="2000" b="1" dirty="0">
                <a:latin typeface="Montserrat" panose="00000500000000000000" pitchFamily="2" charset="0"/>
                <a:cs typeface="Arial" pitchFamily="34" charset="0"/>
              </a:endParaRPr>
            </a:p>
          </p:txBody>
        </p:sp>
        <p:sp>
          <p:nvSpPr>
            <p:cNvPr id="92" name="TextBox 91">
              <a:extLst>
                <a:ext uri="{FF2B5EF4-FFF2-40B4-BE49-F238E27FC236}">
                  <a16:creationId xmlns:a16="http://schemas.microsoft.com/office/drawing/2014/main" id="{8E69363C-1107-4BB7-BB00-888BBF477A39}"/>
                </a:ext>
              </a:extLst>
            </p:cNvPr>
            <p:cNvSpPr txBox="1"/>
            <p:nvPr/>
          </p:nvSpPr>
          <p:spPr>
            <a:xfrm>
              <a:off x="2993578" y="791171"/>
              <a:ext cx="699509" cy="300082"/>
            </a:xfrm>
            <a:prstGeom prst="rect">
              <a:avLst/>
            </a:prstGeom>
            <a:noFill/>
          </p:spPr>
          <p:txBody>
            <a:bodyPr wrap="square" rtlCol="0" anchor="ctr">
              <a:spAutoFit/>
            </a:bodyPr>
            <a:lstStyle/>
            <a:p>
              <a:pPr algn="ctr"/>
              <a:r>
                <a:rPr lang="en-US" altLang="ko-KR" sz="2000" b="1" dirty="0">
                  <a:latin typeface="Montserrat" panose="00000500000000000000" pitchFamily="2" charset="0"/>
                  <a:cs typeface="Arial" pitchFamily="34" charset="0"/>
                </a:rPr>
                <a:t>2013</a:t>
              </a:r>
              <a:endParaRPr lang="ko-KR" altLang="en-US" sz="2000" b="1" dirty="0">
                <a:latin typeface="Montserrat" panose="00000500000000000000" pitchFamily="2" charset="0"/>
                <a:cs typeface="Arial" pitchFamily="34" charset="0"/>
              </a:endParaRPr>
            </a:p>
          </p:txBody>
        </p:sp>
        <p:sp>
          <p:nvSpPr>
            <p:cNvPr id="93" name="TextBox 92">
              <a:extLst>
                <a:ext uri="{FF2B5EF4-FFF2-40B4-BE49-F238E27FC236}">
                  <a16:creationId xmlns:a16="http://schemas.microsoft.com/office/drawing/2014/main" id="{DBEEED30-C0E6-481C-8E93-FE158A078180}"/>
                </a:ext>
              </a:extLst>
            </p:cNvPr>
            <p:cNvSpPr txBox="1"/>
            <p:nvPr/>
          </p:nvSpPr>
          <p:spPr>
            <a:xfrm>
              <a:off x="1842838" y="791171"/>
              <a:ext cx="699509" cy="300082"/>
            </a:xfrm>
            <a:prstGeom prst="rect">
              <a:avLst/>
            </a:prstGeom>
            <a:noFill/>
          </p:spPr>
          <p:txBody>
            <a:bodyPr wrap="square" rtlCol="0" anchor="ctr">
              <a:spAutoFit/>
            </a:bodyPr>
            <a:lstStyle/>
            <a:p>
              <a:pPr algn="ctr"/>
              <a:r>
                <a:rPr lang="en-US" altLang="ko-KR" sz="2000" b="1" dirty="0">
                  <a:latin typeface="Montserrat" panose="00000500000000000000" pitchFamily="2" charset="0"/>
                  <a:cs typeface="Arial" pitchFamily="34" charset="0"/>
                </a:rPr>
                <a:t>2010</a:t>
              </a:r>
              <a:endParaRPr lang="ko-KR" altLang="en-US" sz="2000" b="1" dirty="0">
                <a:latin typeface="Montserrat" panose="00000500000000000000" pitchFamily="2" charset="0"/>
                <a:cs typeface="Arial" pitchFamily="34" charset="0"/>
              </a:endParaRPr>
            </a:p>
          </p:txBody>
        </p:sp>
        <p:sp>
          <p:nvSpPr>
            <p:cNvPr id="94" name="Rectangle 7">
              <a:extLst>
                <a:ext uri="{FF2B5EF4-FFF2-40B4-BE49-F238E27FC236}">
                  <a16:creationId xmlns:a16="http://schemas.microsoft.com/office/drawing/2014/main" id="{A9CEFE8E-346F-408F-B6BB-48C4F097602E}"/>
                </a:ext>
              </a:extLst>
            </p:cNvPr>
            <p:cNvSpPr/>
            <p:nvPr/>
          </p:nvSpPr>
          <p:spPr>
            <a:xfrm>
              <a:off x="2063836" y="2247962"/>
              <a:ext cx="241530" cy="241530"/>
            </a:xfrm>
            <a:custGeom>
              <a:avLst/>
              <a:gdLst/>
              <a:ahLst/>
              <a:cxnLst/>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95" name="Oval 7">
              <a:extLst>
                <a:ext uri="{FF2B5EF4-FFF2-40B4-BE49-F238E27FC236}">
                  <a16:creationId xmlns:a16="http://schemas.microsoft.com/office/drawing/2014/main" id="{F4860923-F63A-472C-8B20-BF5A7999AA07}"/>
                </a:ext>
              </a:extLst>
            </p:cNvPr>
            <p:cNvSpPr/>
            <p:nvPr/>
          </p:nvSpPr>
          <p:spPr>
            <a:xfrm>
              <a:off x="7816867" y="1850190"/>
              <a:ext cx="258841" cy="258841"/>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96" name="Rounded Rectangle 27">
              <a:extLst>
                <a:ext uri="{FF2B5EF4-FFF2-40B4-BE49-F238E27FC236}">
                  <a16:creationId xmlns:a16="http://schemas.microsoft.com/office/drawing/2014/main" id="{2B79DA95-7955-41A8-BC52-C76E9179E582}"/>
                </a:ext>
              </a:extLst>
            </p:cNvPr>
            <p:cNvSpPr/>
            <p:nvPr/>
          </p:nvSpPr>
          <p:spPr>
            <a:xfrm>
              <a:off x="4356324" y="2632112"/>
              <a:ext cx="275497" cy="21161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97" name="Rounded Rectangle 7">
              <a:extLst>
                <a:ext uri="{FF2B5EF4-FFF2-40B4-BE49-F238E27FC236}">
                  <a16:creationId xmlns:a16="http://schemas.microsoft.com/office/drawing/2014/main" id="{B961FB08-6B6D-40A1-B58F-FC05BE61402E}"/>
                </a:ext>
              </a:extLst>
            </p:cNvPr>
            <p:cNvSpPr/>
            <p:nvPr/>
          </p:nvSpPr>
          <p:spPr>
            <a:xfrm>
              <a:off x="5504764" y="1854567"/>
              <a:ext cx="280094" cy="241718"/>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98" name="Block Arc 25">
              <a:extLst>
                <a:ext uri="{FF2B5EF4-FFF2-40B4-BE49-F238E27FC236}">
                  <a16:creationId xmlns:a16="http://schemas.microsoft.com/office/drawing/2014/main" id="{43BB0111-13F0-45E5-A020-0010CE155C93}"/>
                </a:ext>
              </a:extLst>
            </p:cNvPr>
            <p:cNvSpPr/>
            <p:nvPr/>
          </p:nvSpPr>
          <p:spPr>
            <a:xfrm>
              <a:off x="3251309" y="1843140"/>
              <a:ext cx="184046" cy="265891"/>
            </a:xfrm>
            <a:custGeom>
              <a:avLst/>
              <a:gdLst/>
              <a:ahLst/>
              <a:cxnLst/>
              <a:rect l="l" t="t" r="r" b="b"/>
              <a:pathLst>
                <a:path w="2215656" h="3200962">
                  <a:moveTo>
                    <a:pt x="1107829" y="2097026"/>
                  </a:moveTo>
                  <a:cubicBezTo>
                    <a:pt x="1025315" y="2097026"/>
                    <a:pt x="958423" y="2163918"/>
                    <a:pt x="958423" y="2246432"/>
                  </a:cubicBezTo>
                  <a:cubicBezTo>
                    <a:pt x="958423" y="2302715"/>
                    <a:pt x="989546" y="2351730"/>
                    <a:pt x="1036590" y="2375275"/>
                  </a:cubicBezTo>
                  <a:lnTo>
                    <a:pt x="985422" y="2684898"/>
                  </a:lnTo>
                  <a:lnTo>
                    <a:pt x="1230236" y="2684898"/>
                  </a:lnTo>
                  <a:lnTo>
                    <a:pt x="1179068" y="2375275"/>
                  </a:lnTo>
                  <a:cubicBezTo>
                    <a:pt x="1226112" y="2351730"/>
                    <a:pt x="1257234" y="2302715"/>
                    <a:pt x="1257234" y="2246432"/>
                  </a:cubicBezTo>
                  <a:cubicBezTo>
                    <a:pt x="1257234" y="2163918"/>
                    <a:pt x="1190343" y="2097026"/>
                    <a:pt x="1107829" y="2097026"/>
                  </a:cubicBezTo>
                  <a:close/>
                  <a:moveTo>
                    <a:pt x="1102513" y="266871"/>
                  </a:moveTo>
                  <a:cubicBezTo>
                    <a:pt x="874876" y="269781"/>
                    <a:pt x="691868" y="455143"/>
                    <a:pt x="691868" y="682798"/>
                  </a:cubicBezTo>
                  <a:lnTo>
                    <a:pt x="690469" y="682798"/>
                  </a:lnTo>
                  <a:lnTo>
                    <a:pt x="690469" y="1580962"/>
                  </a:lnTo>
                  <a:lnTo>
                    <a:pt x="1525188" y="1580962"/>
                  </a:lnTo>
                  <a:lnTo>
                    <a:pt x="1525188" y="672127"/>
                  </a:lnTo>
                  <a:lnTo>
                    <a:pt x="1523654" y="672166"/>
                  </a:lnTo>
                  <a:cubicBezTo>
                    <a:pt x="1517835" y="444585"/>
                    <a:pt x="1330149" y="263961"/>
                    <a:pt x="1102513" y="266871"/>
                  </a:cubicBezTo>
                  <a:close/>
                  <a:moveTo>
                    <a:pt x="1099102" y="56"/>
                  </a:moveTo>
                  <a:cubicBezTo>
                    <a:pt x="1472767" y="-4720"/>
                    <a:pt x="1780852" y="291773"/>
                    <a:pt x="1790404" y="665346"/>
                  </a:cubicBezTo>
                  <a:lnTo>
                    <a:pt x="1742843" y="666562"/>
                  </a:lnTo>
                  <a:lnTo>
                    <a:pt x="1790627" y="666562"/>
                  </a:lnTo>
                  <a:lnTo>
                    <a:pt x="1790627" y="1580962"/>
                  </a:lnTo>
                  <a:lnTo>
                    <a:pt x="2041344" y="1580962"/>
                  </a:lnTo>
                  <a:cubicBezTo>
                    <a:pt x="2137614" y="1580962"/>
                    <a:pt x="2215656" y="1659004"/>
                    <a:pt x="2215656" y="1755274"/>
                  </a:cubicBezTo>
                  <a:lnTo>
                    <a:pt x="2215656" y="3026650"/>
                  </a:lnTo>
                  <a:cubicBezTo>
                    <a:pt x="2215656" y="3122920"/>
                    <a:pt x="2137614" y="3200962"/>
                    <a:pt x="2041344" y="3200962"/>
                  </a:cubicBezTo>
                  <a:lnTo>
                    <a:pt x="174312" y="3200962"/>
                  </a:lnTo>
                  <a:cubicBezTo>
                    <a:pt x="78042" y="3200962"/>
                    <a:pt x="0" y="3122920"/>
                    <a:pt x="0" y="3026650"/>
                  </a:cubicBezTo>
                  <a:lnTo>
                    <a:pt x="0" y="1755274"/>
                  </a:lnTo>
                  <a:cubicBezTo>
                    <a:pt x="0" y="1659004"/>
                    <a:pt x="78042" y="1580962"/>
                    <a:pt x="174312" y="1580962"/>
                  </a:cubicBezTo>
                  <a:lnTo>
                    <a:pt x="425030" y="1580962"/>
                  </a:lnTo>
                  <a:lnTo>
                    <a:pt x="425030" y="676764"/>
                  </a:lnTo>
                  <a:lnTo>
                    <a:pt x="425634" y="676764"/>
                  </a:lnTo>
                  <a:cubicBezTo>
                    <a:pt x="428273" y="305830"/>
                    <a:pt x="727452" y="4806"/>
                    <a:pt x="1099102" y="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99" name="Round Same Side Corner Rectangle 36">
              <a:extLst>
                <a:ext uri="{FF2B5EF4-FFF2-40B4-BE49-F238E27FC236}">
                  <a16:creationId xmlns:a16="http://schemas.microsoft.com/office/drawing/2014/main" id="{AE53B052-C8CD-43D8-9E44-D36B7098D8E2}"/>
                </a:ext>
              </a:extLst>
            </p:cNvPr>
            <p:cNvSpPr/>
            <p:nvPr/>
          </p:nvSpPr>
          <p:spPr>
            <a:xfrm>
              <a:off x="6663720" y="2635276"/>
              <a:ext cx="263660" cy="208454"/>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100" name="Oval 113">
              <a:extLst>
                <a:ext uri="{FF2B5EF4-FFF2-40B4-BE49-F238E27FC236}">
                  <a16:creationId xmlns:a16="http://schemas.microsoft.com/office/drawing/2014/main" id="{6DFE91F8-9262-497C-BA37-ED9CE8F7DB9B}"/>
                </a:ext>
              </a:extLst>
            </p:cNvPr>
            <p:cNvSpPr/>
            <p:nvPr/>
          </p:nvSpPr>
          <p:spPr>
            <a:xfrm>
              <a:off x="785353" y="1727450"/>
              <a:ext cx="513000" cy="513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chemeClr val="tx1"/>
                </a:solidFill>
              </a:endParaRPr>
            </a:p>
          </p:txBody>
        </p:sp>
        <p:sp>
          <p:nvSpPr>
            <p:cNvPr id="101" name="TextBox 100">
              <a:extLst>
                <a:ext uri="{FF2B5EF4-FFF2-40B4-BE49-F238E27FC236}">
                  <a16:creationId xmlns:a16="http://schemas.microsoft.com/office/drawing/2014/main" id="{332F7A2B-CE75-49B5-92DB-40BB8E40106C}"/>
                </a:ext>
              </a:extLst>
            </p:cNvPr>
            <p:cNvSpPr txBox="1"/>
            <p:nvPr/>
          </p:nvSpPr>
          <p:spPr>
            <a:xfrm>
              <a:off x="460504" y="2223900"/>
              <a:ext cx="1162700" cy="553998"/>
            </a:xfrm>
            <a:prstGeom prst="rect">
              <a:avLst/>
            </a:prstGeom>
            <a:noFill/>
          </p:spPr>
          <p:txBody>
            <a:bodyPr wrap="square" rtlCol="0" anchor="ctr">
              <a:spAutoFit/>
            </a:bodyPr>
            <a:lstStyle/>
            <a:p>
              <a:pPr algn="ctr"/>
              <a:r>
                <a:rPr lang="en-US" altLang="ko-KR" b="1" dirty="0">
                  <a:latin typeface="Montserrat" panose="00000500000000000000" pitchFamily="2" charset="0"/>
                  <a:cs typeface="Arial" pitchFamily="34" charset="0"/>
                </a:rPr>
                <a:t>First World Wide Web Page</a:t>
              </a:r>
              <a:endParaRPr lang="ko-KR" altLang="en-US" b="1" dirty="0">
                <a:latin typeface="Montserrat" panose="00000500000000000000" pitchFamily="2" charset="0"/>
                <a:cs typeface="Arial" pitchFamily="34" charset="0"/>
              </a:endParaRPr>
            </a:p>
          </p:txBody>
        </p:sp>
        <p:cxnSp>
          <p:nvCxnSpPr>
            <p:cNvPr id="102" name="Straight Arrow Connector 115">
              <a:extLst>
                <a:ext uri="{FF2B5EF4-FFF2-40B4-BE49-F238E27FC236}">
                  <a16:creationId xmlns:a16="http://schemas.microsoft.com/office/drawing/2014/main" id="{9989A682-A231-4C22-AB17-88E2E26A081C}"/>
                </a:ext>
              </a:extLst>
            </p:cNvPr>
            <p:cNvCxnSpPr>
              <a:cxnSpLocks/>
            </p:cNvCxnSpPr>
            <p:nvPr/>
          </p:nvCxnSpPr>
          <p:spPr>
            <a:xfrm flipV="1">
              <a:off x="1041853" y="1507027"/>
              <a:ext cx="0" cy="220424"/>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60CEC536-76DA-42CF-8F7D-582C32B4B304}"/>
                </a:ext>
              </a:extLst>
            </p:cNvPr>
            <p:cNvSpPr txBox="1"/>
            <p:nvPr/>
          </p:nvSpPr>
          <p:spPr>
            <a:xfrm>
              <a:off x="707057" y="791171"/>
              <a:ext cx="699509" cy="300082"/>
            </a:xfrm>
            <a:prstGeom prst="rect">
              <a:avLst/>
            </a:prstGeom>
            <a:noFill/>
          </p:spPr>
          <p:txBody>
            <a:bodyPr wrap="square" rtlCol="0" anchor="ctr">
              <a:spAutoFit/>
            </a:bodyPr>
            <a:lstStyle/>
            <a:p>
              <a:pPr algn="ctr"/>
              <a:r>
                <a:rPr lang="en-US" altLang="ko-KR" sz="2000" b="1" dirty="0">
                  <a:latin typeface="Montserrat" panose="00000500000000000000" pitchFamily="2" charset="0"/>
                  <a:cs typeface="Arial" pitchFamily="34" charset="0"/>
                </a:rPr>
                <a:t>1991</a:t>
              </a:r>
              <a:endParaRPr lang="ko-KR" altLang="en-US" sz="2000" b="1" dirty="0">
                <a:latin typeface="Montserrat" panose="00000500000000000000" pitchFamily="2" charset="0"/>
                <a:cs typeface="Arial" pitchFamily="34" charset="0"/>
              </a:endParaRPr>
            </a:p>
          </p:txBody>
        </p:sp>
        <p:sp>
          <p:nvSpPr>
            <p:cNvPr id="104" name="Rectangle 9">
              <a:extLst>
                <a:ext uri="{FF2B5EF4-FFF2-40B4-BE49-F238E27FC236}">
                  <a16:creationId xmlns:a16="http://schemas.microsoft.com/office/drawing/2014/main" id="{3EE154BA-B880-4B61-ABA4-0119971B41E4}"/>
                </a:ext>
              </a:extLst>
            </p:cNvPr>
            <p:cNvSpPr/>
            <p:nvPr/>
          </p:nvSpPr>
          <p:spPr>
            <a:xfrm>
              <a:off x="899331" y="1849323"/>
              <a:ext cx="270094" cy="252832"/>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105" name="Rectangle 104">
              <a:extLst>
                <a:ext uri="{FF2B5EF4-FFF2-40B4-BE49-F238E27FC236}">
                  <a16:creationId xmlns:a16="http://schemas.microsoft.com/office/drawing/2014/main" id="{878C89F3-C57C-4133-AEA3-99B11427D6E9}"/>
                </a:ext>
              </a:extLst>
            </p:cNvPr>
            <p:cNvSpPr/>
            <p:nvPr/>
          </p:nvSpPr>
          <p:spPr>
            <a:xfrm>
              <a:off x="6485449" y="4851081"/>
              <a:ext cx="2259794" cy="207749"/>
            </a:xfrm>
            <a:prstGeom prst="rect">
              <a:avLst/>
            </a:prstGeom>
          </p:spPr>
          <p:txBody>
            <a:bodyPr wrap="square">
              <a:spAutoFit/>
            </a:bodyPr>
            <a:lstStyle/>
            <a:p>
              <a:r>
                <a:rPr lang="en-US" sz="1200" dirty="0" err="1">
                  <a:latin typeface="Montserrat" panose="00000500000000000000" pitchFamily="2" charset="0"/>
                </a:rPr>
                <a:t>Seedscientific</a:t>
              </a:r>
              <a:r>
                <a:rPr lang="en-US" sz="1200" dirty="0">
                  <a:latin typeface="Montserrat" panose="00000500000000000000" pitchFamily="2" charset="0"/>
                </a:rPr>
                <a:t> (2020) &amp; </a:t>
              </a:r>
              <a:r>
                <a:rPr lang="en-US" sz="1200" dirty="0" err="1">
                  <a:latin typeface="Montserrat" panose="00000500000000000000" pitchFamily="2" charset="0"/>
                </a:rPr>
                <a:t>statista</a:t>
              </a:r>
              <a:r>
                <a:rPr lang="en-US" sz="1200" dirty="0">
                  <a:latin typeface="Montserrat" panose="00000500000000000000" pitchFamily="2" charset="0"/>
                </a:rPr>
                <a:t> (2019)</a:t>
              </a:r>
            </a:p>
          </p:txBody>
        </p:sp>
      </p:grpSp>
    </p:spTree>
    <p:extLst>
      <p:ext uri="{BB962C8B-B14F-4D97-AF65-F5344CB8AC3E}">
        <p14:creationId xmlns:p14="http://schemas.microsoft.com/office/powerpoint/2010/main" val="5425071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BE9D8-C38B-8119-A642-8C2CE8C222F7}"/>
              </a:ext>
            </a:extLst>
          </p:cNvPr>
          <p:cNvSpPr>
            <a:spLocks noGrp="1"/>
          </p:cNvSpPr>
          <p:nvPr>
            <p:ph type="title"/>
          </p:nvPr>
        </p:nvSpPr>
        <p:spPr>
          <a:xfrm>
            <a:off x="1545673" y="111888"/>
            <a:ext cx="9100654" cy="898576"/>
          </a:xfrm>
        </p:spPr>
        <p:txBody>
          <a:bodyPr/>
          <a:lstStyle/>
          <a:p>
            <a:r>
              <a:rPr lang="en-AU" dirty="0"/>
              <a:t>Profiling </a:t>
            </a:r>
            <a:r>
              <a:rPr lang="en-AU" dirty="0" err="1"/>
              <a:t>Pegawai</a:t>
            </a:r>
            <a:r>
              <a:rPr lang="en-AU" dirty="0"/>
              <a:t> dan Unit </a:t>
            </a:r>
            <a:r>
              <a:rPr lang="en-AU" dirty="0" err="1"/>
              <a:t>Kemenkeu</a:t>
            </a:r>
            <a:endParaRPr lang="en-AU" dirty="0"/>
          </a:p>
        </p:txBody>
      </p:sp>
      <p:pic>
        <p:nvPicPr>
          <p:cNvPr id="6" name="Picture 5">
            <a:extLst>
              <a:ext uri="{FF2B5EF4-FFF2-40B4-BE49-F238E27FC236}">
                <a16:creationId xmlns:a16="http://schemas.microsoft.com/office/drawing/2014/main" id="{96044387-206B-9A41-B6DE-074FC9254AD2}"/>
              </a:ext>
            </a:extLst>
          </p:cNvPr>
          <p:cNvPicPr>
            <a:picLocks noChangeAspect="1"/>
          </p:cNvPicPr>
          <p:nvPr/>
        </p:nvPicPr>
        <p:blipFill>
          <a:blip r:embed="rId2"/>
          <a:stretch>
            <a:fillRect/>
          </a:stretch>
        </p:blipFill>
        <p:spPr>
          <a:xfrm>
            <a:off x="932707" y="1110679"/>
            <a:ext cx="10326586" cy="51563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496131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147617F-E45E-4D40-B0D8-9EAFAA9E0616}"/>
              </a:ext>
            </a:extLst>
          </p:cNvPr>
          <p:cNvGrpSpPr/>
          <p:nvPr/>
        </p:nvGrpSpPr>
        <p:grpSpPr>
          <a:xfrm>
            <a:off x="957774" y="6396335"/>
            <a:ext cx="10557285" cy="279277"/>
            <a:chOff x="-332636" y="3103395"/>
            <a:chExt cx="7917964" cy="279277"/>
          </a:xfrm>
        </p:grpSpPr>
        <p:grpSp>
          <p:nvGrpSpPr>
            <p:cNvPr id="9" name="Group 8">
              <a:extLst>
                <a:ext uri="{FF2B5EF4-FFF2-40B4-BE49-F238E27FC236}">
                  <a16:creationId xmlns:a16="http://schemas.microsoft.com/office/drawing/2014/main" id="{FD7CDF9E-2FD8-4C9A-A766-3783CF9CE4FF}"/>
                </a:ext>
              </a:extLst>
            </p:cNvPr>
            <p:cNvGrpSpPr/>
            <p:nvPr userDrawn="1"/>
          </p:nvGrpSpPr>
          <p:grpSpPr>
            <a:xfrm>
              <a:off x="3657798" y="3105270"/>
              <a:ext cx="1135919" cy="276999"/>
              <a:chOff x="2418585" y="4933105"/>
              <a:chExt cx="1135919" cy="276999"/>
            </a:xfrm>
          </p:grpSpPr>
          <p:pic>
            <p:nvPicPr>
              <p:cNvPr id="21" name="Picture 20">
                <a:extLst>
                  <a:ext uri="{FF2B5EF4-FFF2-40B4-BE49-F238E27FC236}">
                    <a16:creationId xmlns:a16="http://schemas.microsoft.com/office/drawing/2014/main" id="{C2979483-5106-4A17-8987-F403B1F789A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8585" y="4968574"/>
                <a:ext cx="174185" cy="174185"/>
              </a:xfrm>
              <a:prstGeom prst="rect">
                <a:avLst/>
              </a:prstGeom>
            </p:spPr>
          </p:pic>
          <p:sp>
            <p:nvSpPr>
              <p:cNvPr id="22" name="TextBox 21">
                <a:extLst>
                  <a:ext uri="{FF2B5EF4-FFF2-40B4-BE49-F238E27FC236}">
                    <a16:creationId xmlns:a16="http://schemas.microsoft.com/office/drawing/2014/main" id="{EA9DC864-C2C4-4974-A962-4A3B89D5C416}"/>
                  </a:ext>
                </a:extLst>
              </p:cNvPr>
              <p:cNvSpPr txBox="1"/>
              <p:nvPr userDrawn="1"/>
            </p:nvSpPr>
            <p:spPr>
              <a:xfrm>
                <a:off x="2589498" y="4933105"/>
                <a:ext cx="965006" cy="276999"/>
              </a:xfrm>
              <a:prstGeom prst="rect">
                <a:avLst/>
              </a:prstGeom>
              <a:noFill/>
            </p:spPr>
            <p:txBody>
              <a:bodyPr wrap="square" rtlCol="0">
                <a:spAutoFit/>
              </a:bodyPr>
              <a:lstStyle/>
              <a:p>
                <a:r>
                  <a:rPr lang="id-ID" sz="1200" b="1" dirty="0">
                    <a:solidFill>
                      <a:schemeClr val="bg2"/>
                    </a:solidFill>
                  </a:rPr>
                  <a:t>itjenkemenkeu</a:t>
                </a:r>
              </a:p>
            </p:txBody>
          </p:sp>
        </p:grpSp>
        <p:grpSp>
          <p:nvGrpSpPr>
            <p:cNvPr id="10" name="Group 9">
              <a:extLst>
                <a:ext uri="{FF2B5EF4-FFF2-40B4-BE49-F238E27FC236}">
                  <a16:creationId xmlns:a16="http://schemas.microsoft.com/office/drawing/2014/main" id="{13DAAAE9-EA54-492C-BB75-9B046242073D}"/>
                </a:ext>
              </a:extLst>
            </p:cNvPr>
            <p:cNvGrpSpPr/>
            <p:nvPr userDrawn="1"/>
          </p:nvGrpSpPr>
          <p:grpSpPr>
            <a:xfrm>
              <a:off x="2509835" y="3104382"/>
              <a:ext cx="1109516" cy="276999"/>
              <a:chOff x="1819118" y="4894372"/>
              <a:chExt cx="1109516" cy="276999"/>
            </a:xfrm>
          </p:grpSpPr>
          <p:sp>
            <p:nvSpPr>
              <p:cNvPr id="19" name="Freeform 42">
                <a:extLst>
                  <a:ext uri="{FF2B5EF4-FFF2-40B4-BE49-F238E27FC236}">
                    <a16:creationId xmlns:a16="http://schemas.microsoft.com/office/drawing/2014/main" id="{B023FF06-3510-49CC-896A-B810F7B985F9}"/>
                  </a:ext>
                </a:extLst>
              </p:cNvPr>
              <p:cNvSpPr/>
              <p:nvPr userDrawn="1"/>
            </p:nvSpPr>
            <p:spPr>
              <a:xfrm>
                <a:off x="1819118" y="4942092"/>
                <a:ext cx="161557" cy="143907"/>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a:solidFill>
                    <a:schemeClr val="bg2"/>
                  </a:solidFill>
                </a:endParaRPr>
              </a:p>
            </p:txBody>
          </p:sp>
          <p:sp>
            <p:nvSpPr>
              <p:cNvPr id="20" name="TextBox 19">
                <a:extLst>
                  <a:ext uri="{FF2B5EF4-FFF2-40B4-BE49-F238E27FC236}">
                    <a16:creationId xmlns:a16="http://schemas.microsoft.com/office/drawing/2014/main" id="{38CF7B1D-EFA9-4DBB-9349-FD1057AB2990}"/>
                  </a:ext>
                </a:extLst>
              </p:cNvPr>
              <p:cNvSpPr txBox="1"/>
              <p:nvPr userDrawn="1"/>
            </p:nvSpPr>
            <p:spPr>
              <a:xfrm>
                <a:off x="1953651" y="4894372"/>
                <a:ext cx="974983" cy="276999"/>
              </a:xfrm>
              <a:prstGeom prst="rect">
                <a:avLst/>
              </a:prstGeom>
              <a:noFill/>
            </p:spPr>
            <p:txBody>
              <a:bodyPr wrap="square" rtlCol="0">
                <a:spAutoFit/>
              </a:bodyPr>
              <a:lstStyle/>
              <a:p>
                <a:r>
                  <a:rPr lang="en-US" sz="1200" b="1" dirty="0">
                    <a:solidFill>
                      <a:schemeClr val="bg2"/>
                    </a:solidFill>
                  </a:rPr>
                  <a:t>I</a:t>
                </a:r>
                <a:r>
                  <a:rPr lang="id-ID" sz="1200" b="1" dirty="0">
                    <a:solidFill>
                      <a:schemeClr val="bg2"/>
                    </a:solidFill>
                  </a:rPr>
                  <a:t>tjen</a:t>
                </a:r>
                <a:r>
                  <a:rPr lang="en-US" sz="1200" b="1" dirty="0">
                    <a:solidFill>
                      <a:schemeClr val="bg2"/>
                    </a:solidFill>
                  </a:rPr>
                  <a:t>K</a:t>
                </a:r>
                <a:r>
                  <a:rPr lang="id-ID" sz="1200" b="1" dirty="0">
                    <a:solidFill>
                      <a:schemeClr val="bg2"/>
                    </a:solidFill>
                  </a:rPr>
                  <a:t>emenkeu</a:t>
                </a:r>
              </a:p>
            </p:txBody>
          </p:sp>
        </p:grpSp>
        <p:grpSp>
          <p:nvGrpSpPr>
            <p:cNvPr id="11" name="Group 10">
              <a:extLst>
                <a:ext uri="{FF2B5EF4-FFF2-40B4-BE49-F238E27FC236}">
                  <a16:creationId xmlns:a16="http://schemas.microsoft.com/office/drawing/2014/main" id="{61A7C4BD-AC6B-4F9F-A7D0-C6D0C111E400}"/>
                </a:ext>
              </a:extLst>
            </p:cNvPr>
            <p:cNvGrpSpPr/>
            <p:nvPr userDrawn="1"/>
          </p:nvGrpSpPr>
          <p:grpSpPr>
            <a:xfrm>
              <a:off x="1411603" y="3104895"/>
              <a:ext cx="1107225" cy="276999"/>
              <a:chOff x="1270776" y="4894885"/>
              <a:chExt cx="1107225" cy="276999"/>
            </a:xfrm>
          </p:grpSpPr>
          <p:sp>
            <p:nvSpPr>
              <p:cNvPr id="17" name="TextBox 16">
                <a:extLst>
                  <a:ext uri="{FF2B5EF4-FFF2-40B4-BE49-F238E27FC236}">
                    <a16:creationId xmlns:a16="http://schemas.microsoft.com/office/drawing/2014/main" id="{EDCC5457-797B-457E-9AD9-5B0B8FBD48FA}"/>
                  </a:ext>
                </a:extLst>
              </p:cNvPr>
              <p:cNvSpPr txBox="1"/>
              <p:nvPr userDrawn="1"/>
            </p:nvSpPr>
            <p:spPr>
              <a:xfrm>
                <a:off x="1375546" y="4894885"/>
                <a:ext cx="1002455" cy="276999"/>
              </a:xfrm>
              <a:prstGeom prst="rect">
                <a:avLst/>
              </a:prstGeom>
              <a:noFill/>
            </p:spPr>
            <p:txBody>
              <a:bodyPr wrap="square" rtlCol="0">
                <a:spAutoFit/>
              </a:bodyPr>
              <a:lstStyle/>
              <a:p>
                <a:r>
                  <a:rPr lang="en-US" sz="1200" b="1" dirty="0">
                    <a:solidFill>
                      <a:schemeClr val="bg2"/>
                    </a:solidFill>
                  </a:rPr>
                  <a:t>I</a:t>
                </a:r>
                <a:r>
                  <a:rPr lang="id-ID" sz="1200" b="1" dirty="0">
                    <a:solidFill>
                      <a:schemeClr val="bg2"/>
                    </a:solidFill>
                  </a:rPr>
                  <a:t>tjen</a:t>
                </a:r>
                <a:r>
                  <a:rPr lang="en-US" sz="1200" b="1" dirty="0">
                    <a:solidFill>
                      <a:schemeClr val="bg2"/>
                    </a:solidFill>
                  </a:rPr>
                  <a:t>K</a:t>
                </a:r>
                <a:r>
                  <a:rPr lang="id-ID" sz="1200" b="1" dirty="0">
                    <a:solidFill>
                      <a:schemeClr val="bg2"/>
                    </a:solidFill>
                  </a:rPr>
                  <a:t>emenkeu</a:t>
                </a:r>
              </a:p>
            </p:txBody>
          </p:sp>
          <p:sp>
            <p:nvSpPr>
              <p:cNvPr id="18" name="Freeform 41">
                <a:extLst>
                  <a:ext uri="{FF2B5EF4-FFF2-40B4-BE49-F238E27FC236}">
                    <a16:creationId xmlns:a16="http://schemas.microsoft.com/office/drawing/2014/main" id="{B1651CA0-1162-4532-A5DD-FF756B1AF5DC}"/>
                  </a:ext>
                </a:extLst>
              </p:cNvPr>
              <p:cNvSpPr/>
              <p:nvPr userDrawn="1"/>
            </p:nvSpPr>
            <p:spPr>
              <a:xfrm>
                <a:off x="1270776" y="4917449"/>
                <a:ext cx="106542" cy="195517"/>
              </a:xfrm>
              <a:custGeom>
                <a:avLst/>
                <a:gdLst/>
                <a:ahLst/>
                <a:cxnLst/>
                <a:rect l="l" t="t" r="r" b="b"/>
                <a:pathLst>
                  <a:path w="243398" h="468766">
                    <a:moveTo>
                      <a:pt x="179168" y="0"/>
                    </a:moveTo>
                    <a:cubicBezTo>
                      <a:pt x="206776" y="0"/>
                      <a:pt x="228186" y="1127"/>
                      <a:pt x="243398" y="3381"/>
                    </a:cubicBezTo>
                    <a:lnTo>
                      <a:pt x="243398" y="77752"/>
                    </a:lnTo>
                    <a:lnTo>
                      <a:pt x="199169" y="77752"/>
                    </a:lnTo>
                    <a:cubicBezTo>
                      <a:pt x="183018" y="77752"/>
                      <a:pt x="172125" y="81133"/>
                      <a:pt x="166491" y="87894"/>
                    </a:cubicBezTo>
                    <a:cubicBezTo>
                      <a:pt x="160857" y="94655"/>
                      <a:pt x="158040" y="104796"/>
                      <a:pt x="158040" y="118318"/>
                    </a:cubicBezTo>
                    <a:lnTo>
                      <a:pt x="158040" y="171562"/>
                    </a:lnTo>
                    <a:lnTo>
                      <a:pt x="240581" y="171562"/>
                    </a:lnTo>
                    <a:lnTo>
                      <a:pt x="229594" y="254948"/>
                    </a:lnTo>
                    <a:lnTo>
                      <a:pt x="158040" y="254948"/>
                    </a:lnTo>
                    <a:lnTo>
                      <a:pt x="158040" y="468766"/>
                    </a:lnTo>
                    <a:lnTo>
                      <a:pt x="71836" y="468766"/>
                    </a:lnTo>
                    <a:lnTo>
                      <a:pt x="71836" y="254948"/>
                    </a:lnTo>
                    <a:lnTo>
                      <a:pt x="0" y="254948"/>
                    </a:lnTo>
                    <a:lnTo>
                      <a:pt x="0" y="171562"/>
                    </a:lnTo>
                    <a:lnTo>
                      <a:pt x="71836" y="171562"/>
                    </a:lnTo>
                    <a:lnTo>
                      <a:pt x="71836" y="110149"/>
                    </a:lnTo>
                    <a:cubicBezTo>
                      <a:pt x="71836" y="75217"/>
                      <a:pt x="81602" y="48126"/>
                      <a:pt x="101134" y="28875"/>
                    </a:cubicBezTo>
                    <a:cubicBezTo>
                      <a:pt x="120667" y="9625"/>
                      <a:pt x="146677" y="0"/>
                      <a:pt x="17916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a:solidFill>
                    <a:schemeClr val="bg2"/>
                  </a:solidFill>
                </a:endParaRPr>
              </a:p>
            </p:txBody>
          </p:sp>
        </p:grpSp>
        <p:grpSp>
          <p:nvGrpSpPr>
            <p:cNvPr id="12" name="Group 11">
              <a:extLst>
                <a:ext uri="{FF2B5EF4-FFF2-40B4-BE49-F238E27FC236}">
                  <a16:creationId xmlns:a16="http://schemas.microsoft.com/office/drawing/2014/main" id="{92B5A772-C564-4E09-9974-DAAAC36AC254}"/>
                </a:ext>
              </a:extLst>
            </p:cNvPr>
            <p:cNvGrpSpPr/>
            <p:nvPr userDrawn="1"/>
          </p:nvGrpSpPr>
          <p:grpSpPr>
            <a:xfrm>
              <a:off x="-332636" y="3105673"/>
              <a:ext cx="1765654" cy="276999"/>
              <a:chOff x="4935644" y="4457583"/>
              <a:chExt cx="1765654" cy="276999"/>
            </a:xfrm>
          </p:grpSpPr>
          <p:sp>
            <p:nvSpPr>
              <p:cNvPr id="15" name="TextBox 14">
                <a:extLst>
                  <a:ext uri="{FF2B5EF4-FFF2-40B4-BE49-F238E27FC236}">
                    <a16:creationId xmlns:a16="http://schemas.microsoft.com/office/drawing/2014/main" id="{10917D01-E4D6-4F09-A579-64DCA9DC2154}"/>
                  </a:ext>
                </a:extLst>
              </p:cNvPr>
              <p:cNvSpPr txBox="1"/>
              <p:nvPr userDrawn="1"/>
            </p:nvSpPr>
            <p:spPr>
              <a:xfrm>
                <a:off x="5072125" y="4457583"/>
                <a:ext cx="1629173" cy="276999"/>
              </a:xfrm>
              <a:prstGeom prst="rect">
                <a:avLst/>
              </a:prstGeom>
              <a:noFill/>
            </p:spPr>
            <p:txBody>
              <a:bodyPr wrap="square" rtlCol="0">
                <a:spAutoFit/>
              </a:bodyPr>
              <a:lstStyle/>
              <a:p>
                <a:r>
                  <a:rPr lang="en-US" sz="1200" b="1" dirty="0">
                    <a:solidFill>
                      <a:schemeClr val="bg2"/>
                    </a:solidFill>
                  </a:rPr>
                  <a:t>www.</a:t>
                </a:r>
                <a:r>
                  <a:rPr lang="id-ID" sz="1200" b="1" dirty="0">
                    <a:solidFill>
                      <a:schemeClr val="bg2"/>
                    </a:solidFill>
                  </a:rPr>
                  <a:t>itjen</a:t>
                </a:r>
                <a:r>
                  <a:rPr lang="en-US" sz="1200" b="1" dirty="0">
                    <a:solidFill>
                      <a:schemeClr val="bg2"/>
                    </a:solidFill>
                  </a:rPr>
                  <a:t>.</a:t>
                </a:r>
                <a:r>
                  <a:rPr lang="id-ID" sz="1200" b="1" dirty="0">
                    <a:solidFill>
                      <a:schemeClr val="bg2"/>
                    </a:solidFill>
                  </a:rPr>
                  <a:t>kemenkeu</a:t>
                </a:r>
                <a:r>
                  <a:rPr lang="en-US" sz="1200" b="1" dirty="0">
                    <a:solidFill>
                      <a:schemeClr val="bg2"/>
                    </a:solidFill>
                  </a:rPr>
                  <a:t>.go.id</a:t>
                </a:r>
                <a:endParaRPr lang="id-ID" sz="1200" b="1" dirty="0">
                  <a:solidFill>
                    <a:schemeClr val="bg2"/>
                  </a:solidFill>
                </a:endParaRPr>
              </a:p>
            </p:txBody>
          </p:sp>
          <p:sp>
            <p:nvSpPr>
              <p:cNvPr id="16" name="Freeform 39">
                <a:extLst>
                  <a:ext uri="{FF2B5EF4-FFF2-40B4-BE49-F238E27FC236}">
                    <a16:creationId xmlns:a16="http://schemas.microsoft.com/office/drawing/2014/main" id="{E531DB85-5E96-4611-A7F5-A9B2717FCD7F}"/>
                  </a:ext>
                </a:extLst>
              </p:cNvPr>
              <p:cNvSpPr/>
              <p:nvPr userDrawn="1"/>
            </p:nvSpPr>
            <p:spPr>
              <a:xfrm>
                <a:off x="4935644" y="4507201"/>
                <a:ext cx="170062" cy="138654"/>
              </a:xfrm>
              <a:custGeom>
                <a:avLst/>
                <a:gdLst>
                  <a:gd name="connsiteX0" fmla="*/ 227088 w 454178"/>
                  <a:gd name="connsiteY0" fmla="*/ 72963 h 361434"/>
                  <a:gd name="connsiteX1" fmla="*/ 389071 w 454178"/>
                  <a:gd name="connsiteY1" fmla="*/ 206493 h 361434"/>
                  <a:gd name="connsiteX2" fmla="*/ 389353 w 454178"/>
                  <a:gd name="connsiteY2" fmla="*/ 208184 h 361434"/>
                  <a:gd name="connsiteX3" fmla="*/ 389353 w 454178"/>
                  <a:gd name="connsiteY3" fmla="*/ 343405 h 361434"/>
                  <a:gd name="connsiteX4" fmla="*/ 384001 w 454178"/>
                  <a:gd name="connsiteY4" fmla="*/ 356082 h 361434"/>
                  <a:gd name="connsiteX5" fmla="*/ 371324 w 454178"/>
                  <a:gd name="connsiteY5" fmla="*/ 361434 h 361434"/>
                  <a:gd name="connsiteX6" fmla="*/ 263147 w 454178"/>
                  <a:gd name="connsiteY6" fmla="*/ 361434 h 361434"/>
                  <a:gd name="connsiteX7" fmla="*/ 263147 w 454178"/>
                  <a:gd name="connsiteY7" fmla="*/ 253257 h 361434"/>
                  <a:gd name="connsiteX8" fmla="*/ 191030 w 454178"/>
                  <a:gd name="connsiteY8" fmla="*/ 253257 h 361434"/>
                  <a:gd name="connsiteX9" fmla="*/ 191030 w 454178"/>
                  <a:gd name="connsiteY9" fmla="*/ 361434 h 361434"/>
                  <a:gd name="connsiteX10" fmla="*/ 82852 w 454178"/>
                  <a:gd name="connsiteY10" fmla="*/ 361434 h 361434"/>
                  <a:gd name="connsiteX11" fmla="*/ 70175 w 454178"/>
                  <a:gd name="connsiteY11" fmla="*/ 356082 h 361434"/>
                  <a:gd name="connsiteX12" fmla="*/ 64823 w 454178"/>
                  <a:gd name="connsiteY12" fmla="*/ 343405 h 361434"/>
                  <a:gd name="connsiteX13" fmla="*/ 64823 w 454178"/>
                  <a:gd name="connsiteY13" fmla="*/ 208184 h 361434"/>
                  <a:gd name="connsiteX14" fmla="*/ 64963 w 454178"/>
                  <a:gd name="connsiteY14" fmla="*/ 207339 h 361434"/>
                  <a:gd name="connsiteX15" fmla="*/ 65104 w 454178"/>
                  <a:gd name="connsiteY15" fmla="*/ 206493 h 361434"/>
                  <a:gd name="connsiteX16" fmla="*/ 227089 w 454178"/>
                  <a:gd name="connsiteY16" fmla="*/ 0 h 361434"/>
                  <a:gd name="connsiteX17" fmla="*/ 248499 w 454178"/>
                  <a:gd name="connsiteY17" fmla="*/ 7324 h 361434"/>
                  <a:gd name="connsiteX18" fmla="*/ 317236 w 454178"/>
                  <a:gd name="connsiteY18" fmla="*/ 64793 h 361434"/>
                  <a:gd name="connsiteX19" fmla="*/ 317236 w 454178"/>
                  <a:gd name="connsiteY19" fmla="*/ 9860 h 361434"/>
                  <a:gd name="connsiteX20" fmla="*/ 319772 w 454178"/>
                  <a:gd name="connsiteY20" fmla="*/ 3380 h 361434"/>
                  <a:gd name="connsiteX21" fmla="*/ 326251 w 454178"/>
                  <a:gd name="connsiteY21" fmla="*/ 845 h 361434"/>
                  <a:gd name="connsiteX22" fmla="*/ 380340 w 454178"/>
                  <a:gd name="connsiteY22" fmla="*/ 845 h 361434"/>
                  <a:gd name="connsiteX23" fmla="*/ 386819 w 454178"/>
                  <a:gd name="connsiteY23" fmla="*/ 3380 h 361434"/>
                  <a:gd name="connsiteX24" fmla="*/ 389354 w 454178"/>
                  <a:gd name="connsiteY24" fmla="*/ 9860 h 361434"/>
                  <a:gd name="connsiteX25" fmla="*/ 389354 w 454178"/>
                  <a:gd name="connsiteY25" fmla="*/ 124797 h 361434"/>
                  <a:gd name="connsiteX26" fmla="*/ 451049 w 454178"/>
                  <a:gd name="connsiteY26" fmla="*/ 176069 h 361434"/>
                  <a:gd name="connsiteX27" fmla="*/ 454147 w 454178"/>
                  <a:gd name="connsiteY27" fmla="*/ 182126 h 361434"/>
                  <a:gd name="connsiteX28" fmla="*/ 452176 w 454178"/>
                  <a:gd name="connsiteY28" fmla="*/ 188746 h 361434"/>
                  <a:gd name="connsiteX29" fmla="*/ 434709 w 454178"/>
                  <a:gd name="connsiteY29" fmla="*/ 209592 h 361434"/>
                  <a:gd name="connsiteX30" fmla="*/ 428794 w 454178"/>
                  <a:gd name="connsiteY30" fmla="*/ 212691 h 361434"/>
                  <a:gd name="connsiteX31" fmla="*/ 427949 w 454178"/>
                  <a:gd name="connsiteY31" fmla="*/ 212691 h 361434"/>
                  <a:gd name="connsiteX32" fmla="*/ 422032 w 454178"/>
                  <a:gd name="connsiteY32" fmla="*/ 210719 h 361434"/>
                  <a:gd name="connsiteX33" fmla="*/ 227089 w 454178"/>
                  <a:gd name="connsiteY33" fmla="*/ 48172 h 361434"/>
                  <a:gd name="connsiteX34" fmla="*/ 32145 w 454178"/>
                  <a:gd name="connsiteY34" fmla="*/ 210719 h 361434"/>
                  <a:gd name="connsiteX35" fmla="*/ 25385 w 454178"/>
                  <a:gd name="connsiteY35" fmla="*/ 212691 h 361434"/>
                  <a:gd name="connsiteX36" fmla="*/ 19469 w 454178"/>
                  <a:gd name="connsiteY36" fmla="*/ 209592 h 361434"/>
                  <a:gd name="connsiteX37" fmla="*/ 2003 w 454178"/>
                  <a:gd name="connsiteY37" fmla="*/ 188746 h 361434"/>
                  <a:gd name="connsiteX38" fmla="*/ 31 w 454178"/>
                  <a:gd name="connsiteY38" fmla="*/ 182126 h 361434"/>
                  <a:gd name="connsiteX39" fmla="*/ 3129 w 454178"/>
                  <a:gd name="connsiteY39" fmla="*/ 176069 h 361434"/>
                  <a:gd name="connsiteX40" fmla="*/ 205680 w 454178"/>
                  <a:gd name="connsiteY40" fmla="*/ 7324 h 361434"/>
                  <a:gd name="connsiteX41" fmla="*/ 227089 w 454178"/>
                  <a:gd name="connsiteY41" fmla="*/ 0 h 361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54178" h="361434">
                    <a:moveTo>
                      <a:pt x="227088" y="72963"/>
                    </a:moveTo>
                    <a:lnTo>
                      <a:pt x="389071" y="206493"/>
                    </a:lnTo>
                    <a:cubicBezTo>
                      <a:pt x="389259" y="206869"/>
                      <a:pt x="389353" y="207432"/>
                      <a:pt x="389353" y="208184"/>
                    </a:cubicBezTo>
                    <a:lnTo>
                      <a:pt x="389353" y="343405"/>
                    </a:lnTo>
                    <a:cubicBezTo>
                      <a:pt x="389353" y="348288"/>
                      <a:pt x="387570" y="352513"/>
                      <a:pt x="384001" y="356082"/>
                    </a:cubicBezTo>
                    <a:cubicBezTo>
                      <a:pt x="380432" y="359650"/>
                      <a:pt x="376206" y="361434"/>
                      <a:pt x="371324" y="361434"/>
                    </a:cubicBezTo>
                    <a:lnTo>
                      <a:pt x="263147" y="361434"/>
                    </a:lnTo>
                    <a:lnTo>
                      <a:pt x="263147" y="253257"/>
                    </a:lnTo>
                    <a:lnTo>
                      <a:pt x="191030" y="253257"/>
                    </a:lnTo>
                    <a:lnTo>
                      <a:pt x="191030" y="361434"/>
                    </a:lnTo>
                    <a:lnTo>
                      <a:pt x="82852" y="361434"/>
                    </a:lnTo>
                    <a:cubicBezTo>
                      <a:pt x="77970" y="361434"/>
                      <a:pt x="73744" y="359650"/>
                      <a:pt x="70175" y="356082"/>
                    </a:cubicBezTo>
                    <a:cubicBezTo>
                      <a:pt x="66607" y="352513"/>
                      <a:pt x="64823" y="348288"/>
                      <a:pt x="64823" y="343405"/>
                    </a:cubicBezTo>
                    <a:lnTo>
                      <a:pt x="64823" y="208184"/>
                    </a:lnTo>
                    <a:cubicBezTo>
                      <a:pt x="64823" y="207996"/>
                      <a:pt x="64870" y="207714"/>
                      <a:pt x="64963" y="207339"/>
                    </a:cubicBezTo>
                    <a:cubicBezTo>
                      <a:pt x="65058" y="206963"/>
                      <a:pt x="65104" y="206681"/>
                      <a:pt x="65104" y="206493"/>
                    </a:cubicBezTo>
                    <a:close/>
                    <a:moveTo>
                      <a:pt x="227089" y="0"/>
                    </a:moveTo>
                    <a:cubicBezTo>
                      <a:pt x="235353" y="0"/>
                      <a:pt x="242489" y="2441"/>
                      <a:pt x="248499" y="7324"/>
                    </a:cubicBezTo>
                    <a:lnTo>
                      <a:pt x="317236" y="64793"/>
                    </a:lnTo>
                    <a:lnTo>
                      <a:pt x="317236" y="9860"/>
                    </a:lnTo>
                    <a:cubicBezTo>
                      <a:pt x="317236" y="7230"/>
                      <a:pt x="318081" y="5071"/>
                      <a:pt x="319772" y="3380"/>
                    </a:cubicBezTo>
                    <a:cubicBezTo>
                      <a:pt x="321462" y="1690"/>
                      <a:pt x="323622" y="845"/>
                      <a:pt x="326251" y="845"/>
                    </a:cubicBezTo>
                    <a:lnTo>
                      <a:pt x="380340" y="845"/>
                    </a:lnTo>
                    <a:cubicBezTo>
                      <a:pt x="382969" y="845"/>
                      <a:pt x="385128" y="1690"/>
                      <a:pt x="386819" y="3380"/>
                    </a:cubicBezTo>
                    <a:cubicBezTo>
                      <a:pt x="388509" y="5071"/>
                      <a:pt x="389354" y="7230"/>
                      <a:pt x="389354" y="9860"/>
                    </a:cubicBezTo>
                    <a:lnTo>
                      <a:pt x="389354" y="124797"/>
                    </a:lnTo>
                    <a:lnTo>
                      <a:pt x="451049" y="176069"/>
                    </a:lnTo>
                    <a:cubicBezTo>
                      <a:pt x="452926" y="177571"/>
                      <a:pt x="453961" y="179590"/>
                      <a:pt x="454147" y="182126"/>
                    </a:cubicBezTo>
                    <a:cubicBezTo>
                      <a:pt x="454335" y="184661"/>
                      <a:pt x="453678" y="186868"/>
                      <a:pt x="452176" y="188746"/>
                    </a:cubicBezTo>
                    <a:lnTo>
                      <a:pt x="434709" y="209592"/>
                    </a:lnTo>
                    <a:cubicBezTo>
                      <a:pt x="433207" y="211283"/>
                      <a:pt x="431235" y="212315"/>
                      <a:pt x="428794" y="212691"/>
                    </a:cubicBezTo>
                    <a:lnTo>
                      <a:pt x="427949" y="212691"/>
                    </a:lnTo>
                    <a:cubicBezTo>
                      <a:pt x="425506" y="212691"/>
                      <a:pt x="423535" y="212034"/>
                      <a:pt x="422032" y="210719"/>
                    </a:cubicBezTo>
                    <a:lnTo>
                      <a:pt x="227089" y="48172"/>
                    </a:lnTo>
                    <a:lnTo>
                      <a:pt x="32145" y="210719"/>
                    </a:lnTo>
                    <a:cubicBezTo>
                      <a:pt x="29892" y="212222"/>
                      <a:pt x="27638" y="212879"/>
                      <a:pt x="25385" y="212691"/>
                    </a:cubicBezTo>
                    <a:cubicBezTo>
                      <a:pt x="22943" y="212315"/>
                      <a:pt x="20971" y="211283"/>
                      <a:pt x="19469" y="209592"/>
                    </a:cubicBezTo>
                    <a:lnTo>
                      <a:pt x="2003" y="188746"/>
                    </a:lnTo>
                    <a:cubicBezTo>
                      <a:pt x="500" y="186868"/>
                      <a:pt x="-158" y="184661"/>
                      <a:pt x="31" y="182126"/>
                    </a:cubicBezTo>
                    <a:cubicBezTo>
                      <a:pt x="218" y="179590"/>
                      <a:pt x="1251" y="177571"/>
                      <a:pt x="3129" y="176069"/>
                    </a:cubicBezTo>
                    <a:lnTo>
                      <a:pt x="205680" y="7324"/>
                    </a:lnTo>
                    <a:cubicBezTo>
                      <a:pt x="211689" y="2441"/>
                      <a:pt x="218826" y="0"/>
                      <a:pt x="227089"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b="1">
                  <a:solidFill>
                    <a:schemeClr val="bg2"/>
                  </a:solidFill>
                </a:endParaRPr>
              </a:p>
            </p:txBody>
          </p:sp>
        </p:grpSp>
        <p:pic>
          <p:nvPicPr>
            <p:cNvPr id="13" name="Picture 12">
              <a:extLst>
                <a:ext uri="{FF2B5EF4-FFF2-40B4-BE49-F238E27FC236}">
                  <a16:creationId xmlns:a16="http://schemas.microsoft.com/office/drawing/2014/main" id="{1F580539-22DD-4C5A-BEED-F3524B78B7F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816052" y="3116924"/>
              <a:ext cx="220491" cy="220491"/>
            </a:xfrm>
            <a:prstGeom prst="rect">
              <a:avLst/>
            </a:prstGeom>
          </p:spPr>
        </p:pic>
        <p:sp>
          <p:nvSpPr>
            <p:cNvPr id="14" name="TextBox 13">
              <a:extLst>
                <a:ext uri="{FF2B5EF4-FFF2-40B4-BE49-F238E27FC236}">
                  <a16:creationId xmlns:a16="http://schemas.microsoft.com/office/drawing/2014/main" id="{506CC973-2FAB-4F11-A737-D53440DA42BB}"/>
                </a:ext>
              </a:extLst>
            </p:cNvPr>
            <p:cNvSpPr txBox="1"/>
            <p:nvPr userDrawn="1"/>
          </p:nvSpPr>
          <p:spPr>
            <a:xfrm>
              <a:off x="5013630" y="3103395"/>
              <a:ext cx="2571698" cy="276999"/>
            </a:xfrm>
            <a:prstGeom prst="rect">
              <a:avLst/>
            </a:prstGeom>
            <a:noFill/>
          </p:spPr>
          <p:txBody>
            <a:bodyPr wrap="square" rtlCol="0">
              <a:spAutoFit/>
            </a:bodyPr>
            <a:lstStyle/>
            <a:p>
              <a:r>
                <a:rPr lang="en-US" sz="1200" b="1" dirty="0" err="1">
                  <a:solidFill>
                    <a:schemeClr val="bg2"/>
                  </a:solidFill>
                </a:rPr>
                <a:t>Inspektorat</a:t>
              </a:r>
              <a:r>
                <a:rPr lang="en-US" sz="1200" b="1" dirty="0">
                  <a:solidFill>
                    <a:schemeClr val="bg2"/>
                  </a:solidFill>
                </a:rPr>
                <a:t> </a:t>
              </a:r>
              <a:r>
                <a:rPr lang="en-US" sz="1200" b="1" dirty="0" err="1">
                  <a:solidFill>
                    <a:schemeClr val="bg2"/>
                  </a:solidFill>
                </a:rPr>
                <a:t>Jenderal</a:t>
              </a:r>
              <a:r>
                <a:rPr lang="en-US" sz="1200" b="1" dirty="0">
                  <a:solidFill>
                    <a:schemeClr val="bg2"/>
                  </a:solidFill>
                </a:rPr>
                <a:t> Kementerian Keuangan</a:t>
              </a:r>
              <a:endParaRPr lang="id-ID" sz="1200" b="1" dirty="0">
                <a:solidFill>
                  <a:schemeClr val="bg2"/>
                </a:solidFill>
              </a:endParaRPr>
            </a:p>
          </p:txBody>
        </p:sp>
      </p:grpSp>
      <p:sp>
        <p:nvSpPr>
          <p:cNvPr id="23" name="Rectangle 9">
            <a:extLst>
              <a:ext uri="{FF2B5EF4-FFF2-40B4-BE49-F238E27FC236}">
                <a16:creationId xmlns:a16="http://schemas.microsoft.com/office/drawing/2014/main" id="{B324CD0B-A3B2-4F32-84CF-838306B18569}"/>
              </a:ext>
            </a:extLst>
          </p:cNvPr>
          <p:cNvSpPr txBox="1">
            <a:spLocks noChangeArrowheads="1"/>
          </p:cNvSpPr>
          <p:nvPr/>
        </p:nvSpPr>
        <p:spPr bwMode="auto">
          <a:xfrm>
            <a:off x="5694320" y="5151903"/>
            <a:ext cx="4956527" cy="1015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bodyPr>
          <a:lstStyle>
            <a:lvl1pPr algn="l" rtl="0" eaLnBrk="1" fontAlgn="base" hangingPunct="1">
              <a:spcBef>
                <a:spcPct val="0"/>
              </a:spcBef>
              <a:spcAft>
                <a:spcPct val="0"/>
              </a:spcAft>
              <a:defRPr sz="4300" b="1" i="1" kern="1200">
                <a:solidFill>
                  <a:schemeClr val="bg1"/>
                </a:solidFill>
                <a:latin typeface="+mj-lt"/>
                <a:ea typeface="+mj-ea"/>
                <a:cs typeface="+mj-cs"/>
              </a:defRPr>
            </a:lvl1pPr>
            <a:lvl2pPr algn="ctr" rtl="0" eaLnBrk="1" fontAlgn="base" hangingPunct="1">
              <a:spcBef>
                <a:spcPct val="0"/>
              </a:spcBef>
              <a:spcAft>
                <a:spcPct val="0"/>
              </a:spcAft>
              <a:defRPr sz="4200" b="1" i="1">
                <a:solidFill>
                  <a:schemeClr val="tx1"/>
                </a:solidFill>
                <a:latin typeface="Arial" panose="020B0604020202020204" pitchFamily="34" charset="0"/>
              </a:defRPr>
            </a:lvl2pPr>
            <a:lvl3pPr algn="ctr" rtl="0" eaLnBrk="1" fontAlgn="base" hangingPunct="1">
              <a:spcBef>
                <a:spcPct val="0"/>
              </a:spcBef>
              <a:spcAft>
                <a:spcPct val="0"/>
              </a:spcAft>
              <a:defRPr sz="4200" b="1" i="1">
                <a:solidFill>
                  <a:schemeClr val="tx1"/>
                </a:solidFill>
                <a:latin typeface="Arial" panose="020B0604020202020204" pitchFamily="34" charset="0"/>
              </a:defRPr>
            </a:lvl3pPr>
            <a:lvl4pPr algn="ctr" rtl="0" eaLnBrk="1" fontAlgn="base" hangingPunct="1">
              <a:spcBef>
                <a:spcPct val="0"/>
              </a:spcBef>
              <a:spcAft>
                <a:spcPct val="0"/>
              </a:spcAft>
              <a:defRPr sz="4200" b="1" i="1">
                <a:solidFill>
                  <a:schemeClr val="tx1"/>
                </a:solidFill>
                <a:latin typeface="Arial" panose="020B0604020202020204" pitchFamily="34" charset="0"/>
              </a:defRPr>
            </a:lvl4pPr>
            <a:lvl5pPr algn="ctr" rtl="0" eaLnBrk="1" fontAlgn="base" hangingPunct="1">
              <a:spcBef>
                <a:spcPct val="0"/>
              </a:spcBef>
              <a:spcAft>
                <a:spcPct val="0"/>
              </a:spcAft>
              <a:defRPr sz="4200" b="1" i="1">
                <a:solidFill>
                  <a:schemeClr val="tx1"/>
                </a:solidFill>
                <a:latin typeface="Arial" panose="020B0604020202020204" pitchFamily="34" charset="0"/>
              </a:defRPr>
            </a:lvl5pPr>
            <a:lvl6pPr marL="457200" algn="ctr" rtl="0" eaLnBrk="1" fontAlgn="base" hangingPunct="1">
              <a:spcBef>
                <a:spcPct val="0"/>
              </a:spcBef>
              <a:spcAft>
                <a:spcPct val="0"/>
              </a:spcAft>
              <a:defRPr sz="4200" b="1" i="1">
                <a:solidFill>
                  <a:schemeClr val="tx1"/>
                </a:solidFill>
                <a:latin typeface="Arial" panose="020B0604020202020204" pitchFamily="34" charset="0"/>
              </a:defRPr>
            </a:lvl6pPr>
            <a:lvl7pPr marL="914400" algn="ctr" rtl="0" eaLnBrk="1" fontAlgn="base" hangingPunct="1">
              <a:spcBef>
                <a:spcPct val="0"/>
              </a:spcBef>
              <a:spcAft>
                <a:spcPct val="0"/>
              </a:spcAft>
              <a:defRPr sz="4200" b="1" i="1">
                <a:solidFill>
                  <a:schemeClr val="tx1"/>
                </a:solidFill>
                <a:latin typeface="Arial" panose="020B0604020202020204" pitchFamily="34" charset="0"/>
              </a:defRPr>
            </a:lvl7pPr>
            <a:lvl8pPr marL="1371600" algn="ctr" rtl="0" eaLnBrk="1" fontAlgn="base" hangingPunct="1">
              <a:spcBef>
                <a:spcPct val="0"/>
              </a:spcBef>
              <a:spcAft>
                <a:spcPct val="0"/>
              </a:spcAft>
              <a:defRPr sz="4200" b="1" i="1">
                <a:solidFill>
                  <a:schemeClr val="tx1"/>
                </a:solidFill>
                <a:latin typeface="Arial" panose="020B0604020202020204" pitchFamily="34" charset="0"/>
              </a:defRPr>
            </a:lvl8pPr>
            <a:lvl9pPr marL="1828800" algn="ctr" rtl="0" eaLnBrk="1" fontAlgn="base" hangingPunct="1">
              <a:spcBef>
                <a:spcPct val="0"/>
              </a:spcBef>
              <a:spcAft>
                <a:spcPct val="0"/>
              </a:spcAft>
              <a:defRPr sz="4200" b="1" i="1">
                <a:solidFill>
                  <a:schemeClr val="tx1"/>
                </a:solidFill>
                <a:latin typeface="Arial" panose="020B0604020202020204" pitchFamily="34" charset="0"/>
              </a:defRPr>
            </a:lvl9pPr>
          </a:lstStyle>
          <a:p>
            <a:pPr>
              <a:lnSpc>
                <a:spcPct val="110000"/>
              </a:lnSpc>
            </a:pPr>
            <a:r>
              <a:rPr lang="id-ID" sz="1600" b="0" i="0" dirty="0">
                <a:solidFill>
                  <a:prstClr val="black"/>
                </a:solidFill>
              </a:rPr>
              <a:t>G</a:t>
            </a:r>
            <a:r>
              <a:rPr lang="en-US" sz="1600" b="0" i="0" dirty="0" err="1">
                <a:solidFill>
                  <a:prstClr val="black"/>
                </a:solidFill>
              </a:rPr>
              <a:t>edung</a:t>
            </a:r>
            <a:r>
              <a:rPr lang="id-ID" sz="1600" b="0" i="0" dirty="0">
                <a:solidFill>
                  <a:prstClr val="black"/>
                </a:solidFill>
              </a:rPr>
              <a:t> Djuanda II Lantai 4–13</a:t>
            </a:r>
            <a:endParaRPr lang="en-US" sz="1600" b="0" i="0" dirty="0">
              <a:solidFill>
                <a:prstClr val="black"/>
              </a:solidFill>
            </a:endParaRPr>
          </a:p>
          <a:p>
            <a:pPr>
              <a:lnSpc>
                <a:spcPct val="110000"/>
              </a:lnSpc>
            </a:pPr>
            <a:r>
              <a:rPr lang="id-ID" sz="1600" b="0" i="0" dirty="0">
                <a:solidFill>
                  <a:prstClr val="black"/>
                </a:solidFill>
              </a:rPr>
              <a:t>Jl. Dr. Wahidin No. 1 Jakarta</a:t>
            </a:r>
            <a:r>
              <a:rPr lang="en-US" sz="1600" b="0" i="0" dirty="0">
                <a:solidFill>
                  <a:prstClr val="black"/>
                </a:solidFill>
              </a:rPr>
              <a:t> 10710</a:t>
            </a:r>
          </a:p>
          <a:p>
            <a:pPr>
              <a:lnSpc>
                <a:spcPct val="110000"/>
              </a:lnSpc>
            </a:pPr>
            <a:r>
              <a:rPr lang="en-US" sz="1600" b="0" i="0" dirty="0" err="1">
                <a:solidFill>
                  <a:prstClr val="black"/>
                </a:solidFill>
              </a:rPr>
              <a:t>Telp</a:t>
            </a:r>
            <a:r>
              <a:rPr lang="id-ID" sz="1600" b="0" i="0" dirty="0">
                <a:solidFill>
                  <a:prstClr val="black"/>
                </a:solidFill>
              </a:rPr>
              <a:t>.</a:t>
            </a:r>
            <a:r>
              <a:rPr lang="en-US" sz="1600" b="0" i="0" dirty="0">
                <a:solidFill>
                  <a:prstClr val="black"/>
                </a:solidFill>
              </a:rPr>
              <a:t> (021) 3865430</a:t>
            </a:r>
          </a:p>
        </p:txBody>
      </p:sp>
      <p:pic>
        <p:nvPicPr>
          <p:cNvPr id="24" name="Picture 23">
            <a:extLst>
              <a:ext uri="{FF2B5EF4-FFF2-40B4-BE49-F238E27FC236}">
                <a16:creationId xmlns:a16="http://schemas.microsoft.com/office/drawing/2014/main" id="{6E699086-15BA-457F-AD2E-EF6678860938}"/>
              </a:ext>
            </a:extLst>
          </p:cNvPr>
          <p:cNvPicPr>
            <a:picLocks noChangeAspect="1"/>
          </p:cNvPicPr>
          <p:nvPr/>
        </p:nvPicPr>
        <p:blipFill>
          <a:blip r:embed="rId5"/>
          <a:stretch>
            <a:fillRect/>
          </a:stretch>
        </p:blipFill>
        <p:spPr>
          <a:xfrm>
            <a:off x="5513295" y="4325482"/>
            <a:ext cx="6693988" cy="944962"/>
          </a:xfrm>
          <a:prstGeom prst="rect">
            <a:avLst/>
          </a:prstGeom>
        </p:spPr>
      </p:pic>
      <p:sp>
        <p:nvSpPr>
          <p:cNvPr id="25" name="TextBox 24">
            <a:extLst>
              <a:ext uri="{FF2B5EF4-FFF2-40B4-BE49-F238E27FC236}">
                <a16:creationId xmlns:a16="http://schemas.microsoft.com/office/drawing/2014/main" id="{4795CE5F-284B-49E5-956D-616190C5072B}"/>
              </a:ext>
            </a:extLst>
          </p:cNvPr>
          <p:cNvSpPr txBox="1"/>
          <p:nvPr/>
        </p:nvSpPr>
        <p:spPr>
          <a:xfrm>
            <a:off x="5513295" y="3300378"/>
            <a:ext cx="7061391" cy="923330"/>
          </a:xfrm>
          <a:prstGeom prst="rect">
            <a:avLst/>
          </a:prstGeom>
          <a:noFill/>
        </p:spPr>
        <p:txBody>
          <a:bodyPr wrap="square" lIns="0" tIns="0" rIns="0" bIns="0" rtlCol="0">
            <a:spAutoFit/>
          </a:bodyPr>
          <a:lstStyle/>
          <a:p>
            <a:r>
              <a:rPr lang="en-US" sz="6000" b="1" dirty="0" err="1">
                <a:solidFill>
                  <a:schemeClr val="tx1"/>
                </a:solidFill>
                <a:latin typeface="Arial Narrow" panose="020B0606020202030204" pitchFamily="34" charset="0"/>
                <a:ea typeface="Segoe UI Black" panose="020B0A02040204020203" pitchFamily="34" charset="0"/>
                <a:cs typeface="Estrangelo Edessa" panose="03080600000000000000" pitchFamily="66" charset="0"/>
              </a:rPr>
              <a:t>Terima</a:t>
            </a:r>
            <a:r>
              <a:rPr lang="en-US" sz="6000" b="1" dirty="0">
                <a:solidFill>
                  <a:schemeClr val="tx1"/>
                </a:solidFill>
                <a:latin typeface="Arial Narrow" panose="020B0606020202030204" pitchFamily="34" charset="0"/>
                <a:ea typeface="Segoe UI Black" panose="020B0A02040204020203" pitchFamily="34" charset="0"/>
                <a:cs typeface="Estrangelo Edessa" panose="03080600000000000000" pitchFamily="66" charset="0"/>
              </a:rPr>
              <a:t> </a:t>
            </a:r>
            <a:r>
              <a:rPr lang="en-US" sz="6000" b="1" dirty="0" err="1">
                <a:solidFill>
                  <a:schemeClr val="tx1"/>
                </a:solidFill>
                <a:latin typeface="Arial Narrow" panose="020B0606020202030204" pitchFamily="34" charset="0"/>
                <a:ea typeface="Segoe UI Black" panose="020B0A02040204020203" pitchFamily="34" charset="0"/>
                <a:cs typeface="Estrangelo Edessa" panose="03080600000000000000" pitchFamily="66" charset="0"/>
              </a:rPr>
              <a:t>Kasih</a:t>
            </a:r>
            <a:endParaRPr lang="en-ID" sz="6000" b="1" dirty="0">
              <a:solidFill>
                <a:schemeClr val="tx1"/>
              </a:solidFill>
              <a:latin typeface="Arial Narrow" panose="020B0606020202030204" pitchFamily="34" charset="0"/>
              <a:ea typeface="Segoe UI Black" panose="020B0A02040204020203" pitchFamily="34" charset="0"/>
              <a:cs typeface="Estrangelo Edessa" panose="03080600000000000000" pitchFamily="66" charset="0"/>
            </a:endParaRPr>
          </a:p>
        </p:txBody>
      </p:sp>
    </p:spTree>
    <p:extLst>
      <p:ext uri="{BB962C8B-B14F-4D97-AF65-F5344CB8AC3E}">
        <p14:creationId xmlns:p14="http://schemas.microsoft.com/office/powerpoint/2010/main" val="2655007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9" y="1589"/>
                        <a:ext cx="1587" cy="1587"/>
                      </a:xfrm>
                      <a:prstGeom prst="rect">
                        <a:avLst/>
                      </a:prstGeom>
                    </p:spPr>
                  </p:pic>
                </p:oleObj>
              </mc:Fallback>
            </mc:AlternateContent>
          </a:graphicData>
        </a:graphic>
      </p:graphicFrame>
      <p:pic>
        <p:nvPicPr>
          <p:cNvPr id="64" name="Background - 9584">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601" y="0"/>
            <a:ext cx="12192000" cy="6858000"/>
          </a:xfrm>
          <a:prstGeom prst="rect">
            <a:avLst/>
          </a:prstGeom>
        </p:spPr>
      </p:pic>
      <p:sp>
        <p:nvSpPr>
          <p:cNvPr id="66" name="TextBox 65"/>
          <p:cNvSpPr txBox="1"/>
          <p:nvPr/>
        </p:nvSpPr>
        <p:spPr>
          <a:xfrm>
            <a:off x="2029072" y="2749691"/>
            <a:ext cx="8577115" cy="1384995"/>
          </a:xfrm>
          <a:prstGeom prst="rect">
            <a:avLst/>
          </a:prstGeom>
          <a:noFill/>
        </p:spPr>
        <p:txBody>
          <a:bodyPr wrap="square" lIns="0" tIns="0" rIns="0" bIns="0" rtlCol="0" anchor="ctr">
            <a:noAutofit/>
          </a:bodyPr>
          <a:lstStyle/>
          <a:p>
            <a:pPr algn="ctr">
              <a:lnSpc>
                <a:spcPts val="2800"/>
              </a:lnSpc>
            </a:pPr>
            <a:r>
              <a:rPr lang="en-US" sz="2400" dirty="0">
                <a:solidFill>
                  <a:schemeClr val="bg1"/>
                </a:solidFill>
                <a:effectLst>
                  <a:outerShdw blurRad="50800" dist="38100" dir="2700000" algn="tl" rotWithShape="0">
                    <a:prstClr val="black">
                      <a:alpha val="40000"/>
                    </a:prstClr>
                  </a:outerShdw>
                </a:effectLst>
                <a:latin typeface="Montserrat" panose="00000500000000000000" pitchFamily="2" charset="-18"/>
              </a:rPr>
              <a:t>We are drowning in </a:t>
            </a:r>
            <a:r>
              <a:rPr lang="en-US" sz="2400" b="1" u="sng" dirty="0">
                <a:solidFill>
                  <a:srgbClr val="00B0F0">
                    <a:alpha val="54000"/>
                  </a:srgbClr>
                </a:solidFill>
                <a:effectLst>
                  <a:outerShdw blurRad="50800" dist="38100" dir="2700000" algn="tl" rotWithShape="0">
                    <a:prstClr val="black">
                      <a:alpha val="40000"/>
                    </a:prstClr>
                  </a:outerShdw>
                </a:effectLst>
                <a:latin typeface="Montserrat" panose="00000500000000000000" pitchFamily="2" charset="-18"/>
              </a:rPr>
              <a:t>data</a:t>
            </a:r>
            <a:r>
              <a:rPr lang="en-US" sz="2400" dirty="0">
                <a:solidFill>
                  <a:srgbClr val="F6F6F9">
                    <a:alpha val="54000"/>
                  </a:srgbClr>
                </a:solidFill>
                <a:effectLst>
                  <a:outerShdw blurRad="50800" dist="38100" dir="2700000" algn="tl" rotWithShape="0">
                    <a:prstClr val="black">
                      <a:alpha val="40000"/>
                    </a:prstClr>
                  </a:outerShdw>
                </a:effectLst>
                <a:latin typeface="Montserrat" panose="00000500000000000000" pitchFamily="2" charset="-18"/>
              </a:rPr>
              <a:t>, </a:t>
            </a:r>
            <a:r>
              <a:rPr lang="en-US" sz="2400" dirty="0">
                <a:solidFill>
                  <a:schemeClr val="bg1"/>
                </a:solidFill>
                <a:effectLst>
                  <a:outerShdw blurRad="50800" dist="38100" dir="2700000" algn="tl" rotWithShape="0">
                    <a:prstClr val="black">
                      <a:alpha val="40000"/>
                    </a:prstClr>
                  </a:outerShdw>
                </a:effectLst>
                <a:latin typeface="Montserrat" panose="00000500000000000000" pitchFamily="2" charset="-18"/>
              </a:rPr>
              <a:t>but starving for </a:t>
            </a:r>
            <a:r>
              <a:rPr lang="en-US" sz="2400" b="1" u="sng" dirty="0">
                <a:solidFill>
                  <a:srgbClr val="FFFF00">
                    <a:alpha val="54000"/>
                  </a:srgbClr>
                </a:solidFill>
                <a:effectLst>
                  <a:outerShdw blurRad="50800" dist="38100" dir="2700000" algn="tl" rotWithShape="0">
                    <a:prstClr val="black">
                      <a:alpha val="40000"/>
                    </a:prstClr>
                  </a:outerShdw>
                </a:effectLst>
                <a:latin typeface="Montserrat" panose="00000500000000000000" pitchFamily="2" charset="-18"/>
              </a:rPr>
              <a:t>knowledge</a:t>
            </a:r>
            <a:r>
              <a:rPr lang="en-US" sz="2400" dirty="0">
                <a:solidFill>
                  <a:srgbClr val="F6F6F9">
                    <a:alpha val="54000"/>
                  </a:srgbClr>
                </a:solidFill>
                <a:effectLst>
                  <a:outerShdw blurRad="50800" dist="38100" dir="2700000" algn="tl" rotWithShape="0">
                    <a:prstClr val="black">
                      <a:alpha val="40000"/>
                    </a:prstClr>
                  </a:outerShdw>
                </a:effectLst>
                <a:latin typeface="Montserrat" panose="00000500000000000000" pitchFamily="2" charset="-18"/>
              </a:rPr>
              <a:t>!</a:t>
            </a:r>
          </a:p>
        </p:txBody>
      </p:sp>
      <p:sp>
        <p:nvSpPr>
          <p:cNvPr id="68" name="TextBox 67"/>
          <p:cNvSpPr txBox="1"/>
          <p:nvPr/>
        </p:nvSpPr>
        <p:spPr>
          <a:xfrm>
            <a:off x="3016454" y="4413997"/>
            <a:ext cx="7738839" cy="246221"/>
          </a:xfrm>
          <a:prstGeom prst="rect">
            <a:avLst/>
          </a:prstGeom>
          <a:noFill/>
        </p:spPr>
        <p:txBody>
          <a:bodyPr wrap="square" lIns="0" tIns="0" rIns="0" bIns="0" rtlCol="0">
            <a:spAutoFit/>
          </a:bodyPr>
          <a:lstStyle/>
          <a:p>
            <a:pPr algn="r"/>
            <a:r>
              <a:rPr lang="en-US" sz="1600" dirty="0">
                <a:solidFill>
                  <a:schemeClr val="bg1"/>
                </a:solidFill>
                <a:effectLst>
                  <a:outerShdw blurRad="50800" dist="38100" dir="2700000" algn="tl" rotWithShape="0">
                    <a:prstClr val="black">
                      <a:alpha val="40000"/>
                    </a:prstClr>
                  </a:outerShdw>
                </a:effectLst>
                <a:latin typeface="Montserrat" panose="00000500000000000000" pitchFamily="2" charset="0"/>
              </a:rPr>
              <a:t>John </a:t>
            </a:r>
            <a:r>
              <a:rPr lang="en-US" sz="1600" dirty="0" err="1">
                <a:solidFill>
                  <a:schemeClr val="bg1"/>
                </a:solidFill>
                <a:effectLst>
                  <a:outerShdw blurRad="50800" dist="38100" dir="2700000" algn="tl" rotWithShape="0">
                    <a:prstClr val="black">
                      <a:alpha val="40000"/>
                    </a:prstClr>
                  </a:outerShdw>
                </a:effectLst>
                <a:latin typeface="Montserrat" panose="00000500000000000000" pitchFamily="2" charset="0"/>
              </a:rPr>
              <a:t>Naisbitt</a:t>
            </a:r>
            <a:r>
              <a:rPr lang="en-US" sz="1600" dirty="0">
                <a:solidFill>
                  <a:schemeClr val="bg1"/>
                </a:solidFill>
                <a:effectLst>
                  <a:outerShdw blurRad="50800" dist="38100" dir="2700000" algn="tl" rotWithShape="0">
                    <a:prstClr val="black">
                      <a:alpha val="40000"/>
                    </a:prstClr>
                  </a:outerShdw>
                </a:effectLst>
                <a:latin typeface="Montserrat" panose="00000500000000000000" pitchFamily="2" charset="0"/>
              </a:rPr>
              <a:t>, Megatrends, 1988</a:t>
            </a:r>
            <a:endParaRPr lang="en-US" sz="1600" kern="2000" dirty="0">
              <a:solidFill>
                <a:schemeClr val="bg1"/>
              </a:solidFill>
              <a:effectLst>
                <a:outerShdw blurRad="50800" dist="38100" dir="2700000" algn="tl" rotWithShape="0">
                  <a:prstClr val="black">
                    <a:alpha val="40000"/>
                  </a:prstClr>
                </a:outerShdw>
              </a:effectLst>
              <a:latin typeface="Montserrat" panose="00000500000000000000" pitchFamily="2" charset="0"/>
            </a:endParaRPr>
          </a:p>
        </p:txBody>
      </p:sp>
      <p:sp>
        <p:nvSpPr>
          <p:cNvPr id="71" name="Rectangle 14"/>
          <p:cNvSpPr/>
          <p:nvPr/>
        </p:nvSpPr>
        <p:spPr>
          <a:xfrm>
            <a:off x="1436711" y="2705344"/>
            <a:ext cx="5530148" cy="1903141"/>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Rectangle 14"/>
          <p:cNvSpPr/>
          <p:nvPr/>
        </p:nvSpPr>
        <p:spPr>
          <a:xfrm rot="10800000">
            <a:off x="6123047" y="2503618"/>
            <a:ext cx="4632245" cy="15615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14"/>
          <p:cNvSpPr/>
          <p:nvPr/>
        </p:nvSpPr>
        <p:spPr>
          <a:xfrm rot="5400000">
            <a:off x="3764409" y="135551"/>
            <a:ext cx="782387" cy="5139579"/>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21829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7823" fill="hold"/>
                                        <p:tgtEl>
                                          <p:spTgt spid="64"/>
                                        </p:tgtEl>
                                      </p:cBhvr>
                                    </p:cmd>
                                  </p:childTnLst>
                                </p:cTn>
                              </p:par>
                              <p:par>
                                <p:cTn id="7" presetID="22" presetClass="entr" presetSubtype="8"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animEffect transition="in" filter="wipe(left)">
                                      <p:cBhvr>
                                        <p:cTn id="9" dur="1000"/>
                                        <p:tgtEl>
                                          <p:spTgt spid="73"/>
                                        </p:tgtEl>
                                      </p:cBhvr>
                                    </p:animEffect>
                                  </p:childTnLst>
                                </p:cTn>
                              </p:par>
                              <p:par>
                                <p:cTn id="10" presetID="22" presetClass="entr" presetSubtype="8" fill="hold" grpId="0" nodeType="withEffect">
                                  <p:stCondLst>
                                    <p:cond delay="400"/>
                                  </p:stCondLst>
                                  <p:childTnLst>
                                    <p:set>
                                      <p:cBhvr>
                                        <p:cTn id="11" dur="1" fill="hold">
                                          <p:stCondLst>
                                            <p:cond delay="0"/>
                                          </p:stCondLst>
                                        </p:cTn>
                                        <p:tgtEl>
                                          <p:spTgt spid="72"/>
                                        </p:tgtEl>
                                        <p:attrNameLst>
                                          <p:attrName>style.visibility</p:attrName>
                                        </p:attrNameLst>
                                      </p:cBhvr>
                                      <p:to>
                                        <p:strVal val="visible"/>
                                      </p:to>
                                    </p:set>
                                    <p:animEffect transition="in" filter="wipe(left)">
                                      <p:cBhvr>
                                        <p:cTn id="12" dur="1000"/>
                                        <p:tgtEl>
                                          <p:spTgt spid="72"/>
                                        </p:tgtEl>
                                      </p:cBhvr>
                                    </p:animEffect>
                                  </p:childTnLst>
                                </p:cTn>
                              </p:par>
                              <p:par>
                                <p:cTn id="13" presetID="22" presetClass="entr" presetSubtype="2" fill="hold" grpId="0" nodeType="withEffect">
                                  <p:stCondLst>
                                    <p:cond delay="800"/>
                                  </p:stCondLst>
                                  <p:childTnLst>
                                    <p:set>
                                      <p:cBhvr>
                                        <p:cTn id="14" dur="1" fill="hold">
                                          <p:stCondLst>
                                            <p:cond delay="0"/>
                                          </p:stCondLst>
                                        </p:cTn>
                                        <p:tgtEl>
                                          <p:spTgt spid="71"/>
                                        </p:tgtEl>
                                        <p:attrNameLst>
                                          <p:attrName>style.visibility</p:attrName>
                                        </p:attrNameLst>
                                      </p:cBhvr>
                                      <p:to>
                                        <p:strVal val="visible"/>
                                      </p:to>
                                    </p:set>
                                    <p:animEffect transition="in" filter="wipe(right)">
                                      <p:cBhvr>
                                        <p:cTn id="15" dur="1000"/>
                                        <p:tgtEl>
                                          <p:spTgt spid="71"/>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1000"/>
                                        <p:tgtEl>
                                          <p:spTgt spid="66"/>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68"/>
                                        </p:tgtEl>
                                        <p:attrNameLst>
                                          <p:attrName>style.visibility</p:attrName>
                                        </p:attrNameLst>
                                      </p:cBhvr>
                                      <p:to>
                                        <p:strVal val="visible"/>
                                      </p:to>
                                    </p:set>
                                    <p:animEffect transition="in" filter="fade">
                                      <p:cBhvr>
                                        <p:cTn id="21"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2" fill="hold" display="0">
                  <p:stCondLst>
                    <p:cond delay="indefinite"/>
                  </p:stCondLst>
                </p:cTn>
                <p:tgtEl>
                  <p:spTgt spid="64"/>
                </p:tgtEl>
              </p:cMediaNode>
            </p:video>
          </p:childTnLst>
        </p:cTn>
      </p:par>
    </p:tnLst>
    <p:bldLst>
      <p:bldP spid="66" grpId="0"/>
      <p:bldP spid="68" grpId="0"/>
      <p:bldP spid="71" grpId="0" animBg="1"/>
      <p:bldP spid="72" grpId="0" animBg="1"/>
      <p:bldP spid="7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0E133A4-F513-44DB-8A86-0BB13B7A9E56}"/>
              </a:ext>
            </a:extLst>
          </p:cNvPr>
          <p:cNvPicPr>
            <a:picLocks noChangeAspect="1"/>
          </p:cNvPicPr>
          <p:nvPr/>
        </p:nvPicPr>
        <p:blipFill rotWithShape="1">
          <a:blip r:embed="rId6"/>
          <a:srcRect l="1840" t="1055" r="2359"/>
          <a:stretch/>
        </p:blipFill>
        <p:spPr>
          <a:xfrm>
            <a:off x="6601522" y="570533"/>
            <a:ext cx="4958067" cy="5158235"/>
          </a:xfrm>
          <a:prstGeom prst="rect">
            <a:avLst/>
          </a:prstGeom>
        </p:spPr>
      </p:pic>
      <p:pic>
        <p:nvPicPr>
          <p:cNvPr id="3" name="Picture 2">
            <a:extLst>
              <a:ext uri="{FF2B5EF4-FFF2-40B4-BE49-F238E27FC236}">
                <a16:creationId xmlns:a16="http://schemas.microsoft.com/office/drawing/2014/main" id="{68341119-18BE-4076-B4E9-586ECEF04C11}"/>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4369" b="95146" l="3922" r="95518">
                        <a14:foregroundMark x1="13725" y1="6796" x2="29692" y2="33495"/>
                        <a14:foregroundMark x1="29692" y1="33495" x2="82633" y2="79126"/>
                        <a14:foregroundMark x1="82633" y1="79126" x2="82913" y2="79612"/>
                        <a14:foregroundMark x1="70868" y1="6311" x2="70308" y2="27670"/>
                        <a14:foregroundMark x1="70308" y1="27670" x2="59944" y2="71359"/>
                        <a14:foregroundMark x1="59944" y1="71359" x2="49300" y2="90777"/>
                        <a14:foregroundMark x1="49300" y1="90777" x2="48459" y2="95146"/>
                        <a14:foregroundMark x1="7283" y1="4369" x2="12045" y2="35437"/>
                        <a14:foregroundMark x1="29692" y1="12621" x2="36134" y2="69903"/>
                        <a14:foregroundMark x1="57703" y1="13592" x2="54902" y2="66019"/>
                        <a14:foregroundMark x1="36415" y1="21845" x2="54902" y2="70388"/>
                        <a14:foregroundMark x1="42857" y1="13107" x2="56583" y2="56796"/>
                        <a14:foregroundMark x1="49020" y1="17961" x2="61625" y2="54369"/>
                        <a14:foregroundMark x1="66106" y1="23301" x2="77311" y2="58738"/>
                        <a14:foregroundMark x1="77031" y1="34466" x2="80952" y2="58738"/>
                        <a14:foregroundMark x1="72269" y1="24272" x2="86555" y2="63592"/>
                        <a14:foregroundMark x1="85714" y1="59709" x2="91597" y2="84951"/>
                        <a14:foregroundMark x1="91597" y1="84951" x2="41737" y2="90291"/>
                        <a14:foregroundMark x1="41737" y1="90291" x2="28852" y2="81553"/>
                        <a14:foregroundMark x1="28852" y1="81553" x2="10924" y2="27670"/>
                        <a14:foregroundMark x1="10924" y1="27670" x2="5042" y2="16990"/>
                        <a14:foregroundMark x1="5042" y1="16990" x2="3922" y2="4369"/>
                        <a14:foregroundMark x1="12605" y1="21359" x2="30812" y2="76699"/>
                        <a14:foregroundMark x1="24650" y1="28155" x2="34174" y2="40291"/>
                        <a14:foregroundMark x1="30812" y1="31068" x2="41737" y2="33981"/>
                        <a14:foregroundMark x1="61905" y1="56796" x2="78151" y2="66505"/>
                        <a14:foregroundMark x1="69468" y1="40291" x2="77031" y2="62136"/>
                        <a14:foregroundMark x1="74510" y1="37864" x2="81793" y2="66505"/>
                        <a14:foregroundMark x1="93557" y1="85922" x2="95518" y2="90291"/>
                        <a14:foregroundMark x1="84034" y1="90291" x2="62185" y2="91748"/>
                        <a14:foregroundMark x1="62185" y1="91748" x2="60224" y2="90291"/>
                        <a14:foregroundMark x1="59944" y1="87864" x2="65546" y2="83010"/>
                        <a14:foregroundMark x1="72549" y1="74757" x2="55742" y2="75728"/>
                        <a14:foregroundMark x1="57423" y1="56311" x2="59104" y2="67476"/>
                        <a14:foregroundMark x1="54902" y1="46117" x2="72829" y2="33010"/>
                        <a14:foregroundMark x1="68347" y1="4854" x2="74790" y2="21359"/>
                        <a14:foregroundMark x1="64426" y1="7282" x2="36975" y2="13592"/>
                        <a14:foregroundMark x1="39216" y1="5340" x2="28291" y2="6311"/>
                        <a14:foregroundMark x1="74230" y1="38835" x2="74790" y2="45631"/>
                      </a14:backgroundRemoval>
                    </a14:imgEffect>
                  </a14:imgLayer>
                </a14:imgProps>
              </a:ext>
            </a:extLst>
          </a:blip>
          <a:stretch>
            <a:fillRect/>
          </a:stretch>
        </p:blipFill>
        <p:spPr>
          <a:xfrm>
            <a:off x="337781" y="1998186"/>
            <a:ext cx="5925488" cy="3419189"/>
          </a:xfrm>
          <a:prstGeom prst="snip2DiagRect">
            <a:avLst>
              <a:gd name="adj1" fmla="val 0"/>
              <a:gd name="adj2" fmla="val 50000"/>
            </a:avLst>
          </a:prstGeom>
        </p:spPr>
      </p:pic>
    </p:spTree>
    <p:extLst>
      <p:ext uri="{BB962C8B-B14F-4D97-AF65-F5344CB8AC3E}">
        <p14:creationId xmlns:p14="http://schemas.microsoft.com/office/powerpoint/2010/main" val="164736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19660783-C57E-6C53-B322-A69E26C7A7DC}"/>
              </a:ext>
            </a:extLst>
          </p:cNvPr>
          <p:cNvPicPr>
            <a:picLocks noChangeAspect="1"/>
          </p:cNvPicPr>
          <p:nvPr/>
        </p:nvPicPr>
        <p:blipFill rotWithShape="1">
          <a:blip r:embed="rId2"/>
          <a:srcRect b="33655"/>
          <a:stretch/>
        </p:blipFill>
        <p:spPr>
          <a:xfrm>
            <a:off x="353060" y="1207599"/>
            <a:ext cx="7175500" cy="3753557"/>
          </a:xfrm>
          <a:prstGeom prst="rect">
            <a:avLst/>
          </a:prstGeom>
        </p:spPr>
      </p:pic>
      <p:sp>
        <p:nvSpPr>
          <p:cNvPr id="2" name="Rectangle: Top Corners Snipped 1">
            <a:extLst>
              <a:ext uri="{FF2B5EF4-FFF2-40B4-BE49-F238E27FC236}">
                <a16:creationId xmlns:a16="http://schemas.microsoft.com/office/drawing/2014/main" id="{3052B13A-1C55-7787-12BA-589E2C15C202}"/>
              </a:ext>
            </a:extLst>
          </p:cNvPr>
          <p:cNvSpPr/>
          <p:nvPr/>
        </p:nvSpPr>
        <p:spPr>
          <a:xfrm>
            <a:off x="8268050" y="664596"/>
            <a:ext cx="3551588" cy="535305"/>
          </a:xfrm>
          <a:prstGeom prst="snip2SameRect">
            <a:avLst>
              <a:gd name="adj1" fmla="val 20463"/>
              <a:gd name="adj2" fmla="val 0"/>
            </a:avLst>
          </a:prstGeom>
          <a:solidFill>
            <a:srgbClr val="05101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2050" name="Picture 2" descr="Bill Gates | Bill gates, Successful people, Entrepreneur photography">
            <a:extLst>
              <a:ext uri="{FF2B5EF4-FFF2-40B4-BE49-F238E27FC236}">
                <a16:creationId xmlns:a16="http://schemas.microsoft.com/office/drawing/2014/main" id="{5BC581F9-0D51-0C06-50A2-924B12EB73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3217" y="997459"/>
            <a:ext cx="3877926" cy="6204682"/>
          </a:xfrm>
          <a:prstGeom prst="rect">
            <a:avLst/>
          </a:prstGeom>
          <a:noFill/>
          <a:extLst>
            <a:ext uri="{909E8E84-426E-40DD-AFC4-6F175D3DCCD1}">
              <a14:hiddenFill xmlns:a14="http://schemas.microsoft.com/office/drawing/2010/main">
                <a:solidFill>
                  <a:srgbClr val="FFFFFF"/>
                </a:solidFill>
              </a14:hiddenFill>
            </a:ext>
          </a:extLst>
        </p:spPr>
      </p:pic>
      <p:sp>
        <p:nvSpPr>
          <p:cNvPr id="1593" name="Rectangle"/>
          <p:cNvSpPr/>
          <p:nvPr/>
        </p:nvSpPr>
        <p:spPr>
          <a:xfrm>
            <a:off x="0" y="4961157"/>
            <a:ext cx="12192000" cy="1883585"/>
          </a:xfrm>
          <a:prstGeom prst="rect">
            <a:avLst/>
          </a:prstGeom>
          <a:solidFill>
            <a:schemeClr val="tx1">
              <a:lumMod val="75000"/>
              <a:lumOff val="25000"/>
              <a:alpha val="25000"/>
            </a:schemeClr>
          </a:solidFill>
          <a:ln w="12700">
            <a:miter lim="400000"/>
          </a:ln>
        </p:spPr>
        <p:txBody>
          <a:bodyPr lIns="0" tIns="0" rIns="0" bIns="0" anchor="ctr"/>
          <a:lstStyle/>
          <a:p>
            <a:pPr algn="ctr" defTabSz="412750" hangingPunct="0">
              <a:defRPr sz="3200" cap="none" spc="0">
                <a:solidFill>
                  <a:srgbClr val="FFFFFF"/>
                </a:solidFill>
                <a:latin typeface="Helvetica Neue Medium"/>
                <a:ea typeface="Helvetica Neue Medium"/>
                <a:cs typeface="Helvetica Neue Medium"/>
                <a:sym typeface="Helvetica Neue Medium"/>
              </a:defRPr>
            </a:pPr>
            <a:endParaRPr sz="1600" kern="0">
              <a:solidFill>
                <a:srgbClr val="FFFFFF"/>
              </a:solidFill>
              <a:latin typeface="Helvetica Neue Medium"/>
              <a:sym typeface="Helvetica Neue Medium"/>
            </a:endParaRPr>
          </a:p>
        </p:txBody>
      </p:sp>
      <p:sp>
        <p:nvSpPr>
          <p:cNvPr id="1595" name="Slide Number"/>
          <p:cNvSpPr txBox="1">
            <a:spLocks noGrp="1"/>
          </p:cNvSpPr>
          <p:nvPr>
            <p:ph type="sldNum" sz="quarter" idx="4294967295"/>
          </p:nvPr>
        </p:nvSpPr>
        <p:spPr>
          <a:xfrm>
            <a:off x="11842750" y="150813"/>
            <a:ext cx="349250" cy="333375"/>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defTabSz="412750" hangingPunct="0"/>
            <a:fld id="{86CB4B4D-7CA3-9044-876B-883B54F8677D}" type="slidenum">
              <a:rPr kern="0">
                <a:solidFill>
                  <a:srgbClr val="000000"/>
                </a:solidFill>
                <a:latin typeface="Montserrat Bold"/>
                <a:sym typeface="Montserrat Bold"/>
              </a:rPr>
              <a:pPr defTabSz="412750" hangingPunct="0"/>
              <a:t>8</a:t>
            </a:fld>
            <a:endParaRPr kern="0">
              <a:solidFill>
                <a:srgbClr val="000000"/>
              </a:solidFill>
              <a:latin typeface="Montserrat Bold"/>
              <a:sym typeface="Montserrat Bold"/>
            </a:endParaRPr>
          </a:p>
        </p:txBody>
      </p:sp>
      <p:pic>
        <p:nvPicPr>
          <p:cNvPr id="1597" name="Image" descr="Image"/>
          <p:cNvPicPr>
            <a:picLocks noChangeAspect="1"/>
          </p:cNvPicPr>
          <p:nvPr/>
        </p:nvPicPr>
        <p:blipFill>
          <a:blip r:embed="rId4"/>
          <a:stretch>
            <a:fillRect/>
          </a:stretch>
        </p:blipFill>
        <p:spPr>
          <a:xfrm>
            <a:off x="7993224" y="484213"/>
            <a:ext cx="4101240" cy="8074498"/>
          </a:xfrm>
          <a:prstGeom prst="rect">
            <a:avLst/>
          </a:prstGeom>
          <a:ln w="12700">
            <a:miter lim="400000"/>
          </a:ln>
        </p:spPr>
      </p:pic>
      <p:sp>
        <p:nvSpPr>
          <p:cNvPr id="1600" name="The Phone Mockups."/>
          <p:cNvSpPr txBox="1"/>
          <p:nvPr/>
        </p:nvSpPr>
        <p:spPr>
          <a:xfrm>
            <a:off x="2885579" y="259793"/>
            <a:ext cx="5333703" cy="66684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nSpc>
                <a:spcPct val="80000"/>
              </a:lnSpc>
              <a:defRPr sz="10000" cap="none" spc="0">
                <a:latin typeface="+mn-lt"/>
                <a:ea typeface="+mn-ea"/>
                <a:cs typeface="+mn-cs"/>
                <a:sym typeface="Montserrat SemiBold"/>
              </a:defRPr>
            </a:lvl1pPr>
          </a:lstStyle>
          <a:p>
            <a:pPr defTabSz="412750" hangingPunct="0"/>
            <a:r>
              <a:rPr lang="en-US" sz="5000" kern="0" dirty="0">
                <a:solidFill>
                  <a:srgbClr val="000000"/>
                </a:solidFill>
                <a:latin typeface="Montserrat SemiBold"/>
              </a:rPr>
              <a:t>Where are we?</a:t>
            </a:r>
            <a:endParaRPr sz="5000" kern="0" dirty="0">
              <a:solidFill>
                <a:srgbClr val="000000"/>
              </a:solidFill>
              <a:latin typeface="Montserrat SemiBold"/>
            </a:endParaRPr>
          </a:p>
        </p:txBody>
      </p:sp>
      <p:sp>
        <p:nvSpPr>
          <p:cNvPr id="23" name="TextBox 22">
            <a:extLst>
              <a:ext uri="{FF2B5EF4-FFF2-40B4-BE49-F238E27FC236}">
                <a16:creationId xmlns:a16="http://schemas.microsoft.com/office/drawing/2014/main" id="{637B27B2-901C-F1FD-5E1A-7AD26E58D9EF}"/>
              </a:ext>
            </a:extLst>
          </p:cNvPr>
          <p:cNvSpPr txBox="1"/>
          <p:nvPr/>
        </p:nvSpPr>
        <p:spPr>
          <a:xfrm>
            <a:off x="8134180" y="5095118"/>
            <a:ext cx="3600449" cy="1200329"/>
          </a:xfrm>
          <a:prstGeom prst="rect">
            <a:avLst/>
          </a:prstGeom>
          <a:noFill/>
        </p:spPr>
        <p:txBody>
          <a:bodyPr wrap="square" rtlCol="0">
            <a:spAutoFit/>
          </a:bodyPr>
          <a:lstStyle/>
          <a:p>
            <a:pPr algn="r"/>
            <a:r>
              <a:rPr lang="en-US" sz="2400" dirty="0">
                <a:solidFill>
                  <a:schemeClr val="bg1"/>
                </a:solidFill>
                <a:latin typeface="Abadi" panose="020B0604020104020204" pitchFamily="34" charset="0"/>
              </a:rPr>
              <a:t>“The world need banking services, but not necessarily banks.”</a:t>
            </a:r>
          </a:p>
        </p:txBody>
      </p:sp>
      <p:sp>
        <p:nvSpPr>
          <p:cNvPr id="24" name="TextBox 23">
            <a:extLst>
              <a:ext uri="{FF2B5EF4-FFF2-40B4-BE49-F238E27FC236}">
                <a16:creationId xmlns:a16="http://schemas.microsoft.com/office/drawing/2014/main" id="{890D212A-68A3-090B-7D34-0F8E890A98A7}"/>
              </a:ext>
            </a:extLst>
          </p:cNvPr>
          <p:cNvSpPr txBox="1"/>
          <p:nvPr/>
        </p:nvSpPr>
        <p:spPr>
          <a:xfrm>
            <a:off x="7895688" y="6311156"/>
            <a:ext cx="3600449" cy="461665"/>
          </a:xfrm>
          <a:prstGeom prst="rect">
            <a:avLst/>
          </a:prstGeom>
          <a:noFill/>
        </p:spPr>
        <p:txBody>
          <a:bodyPr wrap="square" rtlCol="0">
            <a:spAutoFit/>
          </a:bodyPr>
          <a:lstStyle/>
          <a:p>
            <a:pPr algn="r"/>
            <a:r>
              <a:rPr lang="en-US" sz="2400" dirty="0">
                <a:solidFill>
                  <a:schemeClr val="bg1"/>
                </a:solidFill>
                <a:latin typeface="Abadi" panose="020B0604020104020204" pitchFamily="34" charset="0"/>
              </a:rPr>
              <a:t>-Bill Gates-</a:t>
            </a:r>
          </a:p>
        </p:txBody>
      </p:sp>
      <p:sp>
        <p:nvSpPr>
          <p:cNvPr id="25" name="TextBox 24">
            <a:extLst>
              <a:ext uri="{FF2B5EF4-FFF2-40B4-BE49-F238E27FC236}">
                <a16:creationId xmlns:a16="http://schemas.microsoft.com/office/drawing/2014/main" id="{9F61CAA9-E97D-9CF5-2B57-861F6C593CED}"/>
              </a:ext>
            </a:extLst>
          </p:cNvPr>
          <p:cNvSpPr txBox="1"/>
          <p:nvPr/>
        </p:nvSpPr>
        <p:spPr>
          <a:xfrm>
            <a:off x="-16273" y="5190192"/>
            <a:ext cx="7113848" cy="1323439"/>
          </a:xfrm>
          <a:prstGeom prst="rect">
            <a:avLst/>
          </a:prstGeom>
          <a:noFill/>
        </p:spPr>
        <p:txBody>
          <a:bodyPr wrap="square" rtlCol="0">
            <a:spAutoFit/>
          </a:bodyPr>
          <a:lstStyle/>
          <a:p>
            <a:pPr algn="r"/>
            <a:r>
              <a:rPr lang="en-US" sz="4000" dirty="0">
                <a:latin typeface="Bahnschrift" panose="020B0502040204020203" pitchFamily="34" charset="0"/>
              </a:rPr>
              <a:t>How about </a:t>
            </a:r>
            <a:r>
              <a:rPr lang="en-US" sz="4000" b="1" dirty="0">
                <a:solidFill>
                  <a:srgbClr val="C00000"/>
                </a:solidFill>
                <a:latin typeface="Bahnschrift" panose="020B0502040204020203" pitchFamily="34" charset="0"/>
              </a:rPr>
              <a:t>public services</a:t>
            </a:r>
            <a:r>
              <a:rPr lang="en-US" sz="4000" dirty="0">
                <a:solidFill>
                  <a:srgbClr val="C00000"/>
                </a:solidFill>
                <a:latin typeface="Bahnschrift" panose="020B0502040204020203" pitchFamily="34" charset="0"/>
              </a:rPr>
              <a:t> </a:t>
            </a:r>
            <a:r>
              <a:rPr lang="en-US" sz="4000" dirty="0">
                <a:latin typeface="Bahnschrift" panose="020B0502040204020203" pitchFamily="34" charset="0"/>
              </a:rPr>
              <a:t>and </a:t>
            </a:r>
            <a:r>
              <a:rPr lang="en-US" sz="4000" dirty="0">
                <a:solidFill>
                  <a:srgbClr val="0070C0"/>
                </a:solidFill>
                <a:latin typeface="Bahnschrift" panose="020B0502040204020203" pitchFamily="34" charset="0"/>
              </a:rPr>
              <a:t>Government Office</a:t>
            </a:r>
            <a:r>
              <a:rPr lang="en-US" sz="4000" dirty="0">
                <a:latin typeface="Bahnschrift" panose="020B0502040204020203" pitchFamily="34" charset="0"/>
              </a:rPr>
              <a:t>?</a:t>
            </a:r>
          </a:p>
        </p:txBody>
      </p:sp>
      <p:sp>
        <p:nvSpPr>
          <p:cNvPr id="27" name="TextBox 26">
            <a:extLst>
              <a:ext uri="{FF2B5EF4-FFF2-40B4-BE49-F238E27FC236}">
                <a16:creationId xmlns:a16="http://schemas.microsoft.com/office/drawing/2014/main" id="{C2D4AE93-0631-F97C-651F-A6EF8E8FA6E2}"/>
              </a:ext>
            </a:extLst>
          </p:cNvPr>
          <p:cNvSpPr txBox="1"/>
          <p:nvPr/>
        </p:nvSpPr>
        <p:spPr>
          <a:xfrm>
            <a:off x="852913" y="1133247"/>
            <a:ext cx="4542040" cy="307777"/>
          </a:xfrm>
          <a:prstGeom prst="rect">
            <a:avLst/>
          </a:prstGeom>
          <a:noFill/>
        </p:spPr>
        <p:txBody>
          <a:bodyPr wrap="square" rtlCol="0">
            <a:spAutoFit/>
          </a:bodyPr>
          <a:lstStyle/>
          <a:p>
            <a:r>
              <a:rPr lang="en-US" b="1" dirty="0">
                <a:solidFill>
                  <a:schemeClr val="tx1"/>
                </a:solidFill>
                <a:latin typeface="Abadi" panose="020B0604020104020204" pitchFamily="34" charset="0"/>
              </a:rPr>
              <a:t>Organization IT Maturity</a:t>
            </a:r>
          </a:p>
        </p:txBody>
      </p:sp>
    </p:spTree>
  </p:cSld>
  <p:clrMapOvr>
    <a:masterClrMapping/>
  </p:clrMapOvr>
  <mc:AlternateContent xmlns:mc="http://schemas.openxmlformats.org/markup-compatibility/2006" xmlns:p14="http://schemas.microsoft.com/office/powerpoint/2010/main">
    <mc:Choice Requires="p14">
      <p:transition spd="slow">
        <p:pull/>
      </p:transition>
    </mc:Choice>
    <mc:Fallback xmlns:a14="http://schemas.microsoft.com/office/drawing/2010/main" xmlns:m="http://schemas.openxmlformats.org/officeDocument/2006/math"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E270646-AF94-1770-6FC3-5796F2D3EB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29083" y="1206157"/>
            <a:ext cx="4024223" cy="5272702"/>
          </a:xfrm>
          <a:prstGeom prst="rect">
            <a:avLst/>
          </a:prstGeom>
        </p:spPr>
      </p:pic>
      <p:grpSp>
        <p:nvGrpSpPr>
          <p:cNvPr id="6" name="Group 5">
            <a:extLst>
              <a:ext uri="{FF2B5EF4-FFF2-40B4-BE49-F238E27FC236}">
                <a16:creationId xmlns:a16="http://schemas.microsoft.com/office/drawing/2014/main" id="{A2DBDEEA-3A2E-E5C5-0284-60D7CA453B87}"/>
              </a:ext>
            </a:extLst>
          </p:cNvPr>
          <p:cNvGrpSpPr/>
          <p:nvPr/>
        </p:nvGrpSpPr>
        <p:grpSpPr>
          <a:xfrm>
            <a:off x="4652696" y="200722"/>
            <a:ext cx="7100689" cy="2758822"/>
            <a:chOff x="3927866" y="1114093"/>
            <a:chExt cx="5459767" cy="2481070"/>
          </a:xfrm>
        </p:grpSpPr>
        <p:sp>
          <p:nvSpPr>
            <p:cNvPr id="3" name="TextBox 2">
              <a:extLst>
                <a:ext uri="{FF2B5EF4-FFF2-40B4-BE49-F238E27FC236}">
                  <a16:creationId xmlns:a16="http://schemas.microsoft.com/office/drawing/2014/main" id="{C3AC5421-1B12-9191-F1F6-5BD723A91F0D}"/>
                </a:ext>
              </a:extLst>
            </p:cNvPr>
            <p:cNvSpPr txBox="1"/>
            <p:nvPr/>
          </p:nvSpPr>
          <p:spPr>
            <a:xfrm>
              <a:off x="4286502" y="1258626"/>
              <a:ext cx="4641727" cy="2336537"/>
            </a:xfrm>
            <a:prstGeom prst="rect">
              <a:avLst/>
            </a:prstGeom>
            <a:noFill/>
          </p:spPr>
          <p:txBody>
            <a:bodyPr wrap="square" rtlCol="0">
              <a:spAutoFit/>
            </a:bodyPr>
            <a:lstStyle/>
            <a:p>
              <a:pPr algn="ctr">
                <a:lnSpc>
                  <a:spcPct val="150000"/>
                </a:lnSpc>
              </a:pPr>
              <a:r>
                <a:rPr lang="en-US" sz="2500" b="1" dirty="0">
                  <a:solidFill>
                    <a:schemeClr val="tx2">
                      <a:lumMod val="25000"/>
                    </a:schemeClr>
                  </a:solidFill>
                  <a:latin typeface="Roboto" panose="02000000000000000000" pitchFamily="2" charset="0"/>
                  <a:ea typeface="Roboto" panose="02000000000000000000" pitchFamily="2" charset="0"/>
                  <a:cs typeface="Roboto" panose="02000000000000000000" pitchFamily="2" charset="0"/>
                </a:rPr>
                <a:t>Kita di Kemenkeu sebetulnya duduk di atas sebuah tumpukan data sangat banyak. Ini tambang baru. </a:t>
              </a:r>
              <a:endParaRPr lang="en-ID" sz="2500" b="1" dirty="0">
                <a:solidFill>
                  <a:schemeClr val="tx2">
                    <a:lumMod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4" name="Speech Bubble: Rectangle with Corners Rounded 3">
              <a:extLst>
                <a:ext uri="{FF2B5EF4-FFF2-40B4-BE49-F238E27FC236}">
                  <a16:creationId xmlns:a16="http://schemas.microsoft.com/office/drawing/2014/main" id="{9117AAED-68D0-9150-696F-940436E99683}"/>
                </a:ext>
              </a:extLst>
            </p:cNvPr>
            <p:cNvSpPr/>
            <p:nvPr/>
          </p:nvSpPr>
          <p:spPr>
            <a:xfrm>
              <a:off x="3927866" y="1114093"/>
              <a:ext cx="5459767" cy="1846555"/>
            </a:xfrm>
            <a:prstGeom prst="wedgeRoundRectCallout">
              <a:avLst>
                <a:gd name="adj1" fmla="val -43272"/>
                <a:gd name="adj2" fmla="val 75481"/>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994F868D-969C-5255-CDC8-A94986C1EE52}"/>
                </a:ext>
              </a:extLst>
            </p:cNvPr>
            <p:cNvSpPr txBox="1"/>
            <p:nvPr/>
          </p:nvSpPr>
          <p:spPr>
            <a:xfrm>
              <a:off x="8472138" y="3032994"/>
              <a:ext cx="912181" cy="400110"/>
            </a:xfrm>
            <a:prstGeom prst="rect">
              <a:avLst/>
            </a:prstGeom>
            <a:noFill/>
          </p:spPr>
          <p:txBody>
            <a:bodyPr wrap="square">
              <a:spAutoFit/>
            </a:bodyPr>
            <a:lstStyle/>
            <a:p>
              <a:r>
                <a:rPr lang="en-US" sz="2000" b="1" dirty="0">
                  <a:solidFill>
                    <a:schemeClr val="tx2">
                      <a:lumMod val="25000"/>
                    </a:schemeClr>
                  </a:solidFill>
                  <a:latin typeface="DINPro"/>
                </a:rPr>
                <a:t>- SMI</a:t>
              </a:r>
              <a:endParaRPr lang="en-US" sz="2000" dirty="0"/>
            </a:p>
          </p:txBody>
        </p:sp>
      </p:grpSp>
    </p:spTree>
    <p:extLst>
      <p:ext uri="{BB962C8B-B14F-4D97-AF65-F5344CB8AC3E}">
        <p14:creationId xmlns:p14="http://schemas.microsoft.com/office/powerpoint/2010/main" val="4164993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J">
      <a:dk1>
        <a:srgbClr val="003465"/>
      </a:dk1>
      <a:lt1>
        <a:srgbClr val="F8FBFB"/>
      </a:lt1>
      <a:dk2>
        <a:srgbClr val="000813"/>
      </a:dk2>
      <a:lt2>
        <a:srgbClr val="E7E6E6"/>
      </a:lt2>
      <a:accent1>
        <a:srgbClr val="30A1FD"/>
      </a:accent1>
      <a:accent2>
        <a:srgbClr val="EC7C01"/>
      </a:accent2>
      <a:accent3>
        <a:srgbClr val="A5A5A5"/>
      </a:accent3>
      <a:accent4>
        <a:srgbClr val="FEB705"/>
      </a:accent4>
      <a:accent5>
        <a:srgbClr val="2275FE"/>
      </a:accent5>
      <a:accent6>
        <a:srgbClr val="229EBC"/>
      </a:accent6>
      <a:hlink>
        <a:srgbClr val="D62727"/>
      </a:hlink>
      <a:folHlink>
        <a:srgbClr val="002F4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15</TotalTime>
  <Words>2034</Words>
  <Application>Microsoft Office PowerPoint</Application>
  <PresentationFormat>Widescreen</PresentationFormat>
  <Paragraphs>441</Paragraphs>
  <Slides>51</Slides>
  <Notes>6</Notes>
  <HiddenSlides>0</HiddenSlides>
  <MMClips>1</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70" baseType="lpstr">
      <vt:lpstr>Candara</vt:lpstr>
      <vt:lpstr>Arial Narrow</vt:lpstr>
      <vt:lpstr>Abadi</vt:lpstr>
      <vt:lpstr>Barlow Light</vt:lpstr>
      <vt:lpstr>Source Code Pro Black</vt:lpstr>
      <vt:lpstr>Calibri</vt:lpstr>
      <vt:lpstr>Montserrat</vt:lpstr>
      <vt:lpstr>Tw Cen MT</vt:lpstr>
      <vt:lpstr>Bahnschrift</vt:lpstr>
      <vt:lpstr>Montserrat SemiBold</vt:lpstr>
      <vt:lpstr>Roboto</vt:lpstr>
      <vt:lpstr>Arial</vt:lpstr>
      <vt:lpstr>Agency FB</vt:lpstr>
      <vt:lpstr>Montserrat Bold</vt:lpstr>
      <vt:lpstr>DINPro</vt:lpstr>
      <vt:lpstr>Segoe UI</vt:lpstr>
      <vt:lpstr>Helvetica Neue Medium</vt:lpstr>
      <vt:lpstr>1_Office Theme</vt:lpstr>
      <vt:lpstr>think-cell Slide</vt:lpstr>
      <vt:lpstr>Data Analytics Dalam Pengawasan Inspektorat Jenderal Kementerian Keuangan</vt:lpstr>
      <vt:lpstr>OU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mpak DA Kemenkeu</vt:lpstr>
      <vt:lpstr>PowerPoint Presentation</vt:lpstr>
      <vt:lpstr>PowerPoint Presentation</vt:lpstr>
      <vt:lpstr>PowerPoint Presentation</vt:lpstr>
      <vt:lpstr>Alur Umum AA Itjen</vt:lpstr>
      <vt:lpstr>PowerPoint Presentation</vt:lpstr>
      <vt:lpstr>PowerPoint Presentation</vt:lpstr>
      <vt:lpstr>Tahapan Audit Aplikasi dengan TABK</vt:lpstr>
      <vt:lpstr>Pemahaman Probis dan Walkthrough</vt:lpstr>
      <vt:lpstr>Contoh Hasil Identifikasi Risiko dan Pengendalian</vt:lpstr>
      <vt:lpstr>Penentuan Jenis Pengendalian terkait Aplikasi</vt:lpstr>
      <vt:lpstr>Ilustrasi Pengendalian Aplikasi</vt:lpstr>
      <vt:lpstr>Risk and Control Matrix (RCM)</vt:lpstr>
      <vt:lpstr>Key Success Factor</vt:lpstr>
      <vt:lpstr>Uji Pengendalian Aplikasi (Test of Control)</vt:lpstr>
      <vt:lpstr>Contoh Pelaksanaan Test Of Control</vt:lpstr>
      <vt:lpstr>Pendekatan dan Sarana Test of Control</vt:lpstr>
      <vt:lpstr>Tools Yang Dapat Digunakan (TABK)</vt:lpstr>
      <vt:lpstr>Metode Akses Data</vt:lpstr>
      <vt:lpstr>Metode Akses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oh Data Flow CA pada aplikasi eReviuLK</vt:lpstr>
      <vt:lpstr>PowerPoint Presentation</vt:lpstr>
      <vt:lpstr>PowerPoint Presentation</vt:lpstr>
      <vt:lpstr>Gambaran Umum Analisis Data Lainnya</vt:lpstr>
      <vt:lpstr>PowerPoint Presentation</vt:lpstr>
      <vt:lpstr>PowerPoint Presentation</vt:lpstr>
      <vt:lpstr>PowerPoint Presentation</vt:lpstr>
      <vt:lpstr>Tools yang Digunakan</vt:lpstr>
      <vt:lpstr>PowerPoint Presentation</vt:lpstr>
      <vt:lpstr>PowerPoint Presentation</vt:lpstr>
      <vt:lpstr>Profiling Pegawai dan Unit Kemenke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ESS REPORT  TRANSFORMASI ITJEN POKJA TI</dc:title>
  <dc:creator>Tri Achmadi, Ak., MM., CIA, CISA</dc:creator>
  <cp:lastModifiedBy>Teuku Raja Irfan Radarma</cp:lastModifiedBy>
  <cp:revision>63</cp:revision>
  <dcterms:modified xsi:type="dcterms:W3CDTF">2023-07-02T14:46:59Z</dcterms:modified>
</cp:coreProperties>
</file>